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870" r:id="rId6"/>
    <p:sldMasterId id="2147484865" r:id="rId7"/>
  </p:sldMasterIdLst>
  <p:notesMasterIdLst>
    <p:notesMasterId r:id="rId16"/>
  </p:notesMasterIdLst>
  <p:handoutMasterIdLst>
    <p:handoutMasterId r:id="rId17"/>
  </p:handoutMasterIdLst>
  <p:sldIdLst>
    <p:sldId id="723" r:id="rId8"/>
    <p:sldId id="334" r:id="rId9"/>
    <p:sldId id="733" r:id="rId10"/>
    <p:sldId id="257" r:id="rId11"/>
    <p:sldId id="726" r:id="rId12"/>
    <p:sldId id="728" r:id="rId13"/>
    <p:sldId id="729" r:id="rId14"/>
    <p:sldId id="730" r:id="rId15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DD, ADRIENNE M [AG/1000]" initials="TAM[" lastIdx="2" clrIdx="0">
    <p:extLst>
      <p:ext uri="{19B8F6BF-5375-455C-9EA6-DF929625EA0E}">
        <p15:presenceInfo xmlns:p15="http://schemas.microsoft.com/office/powerpoint/2012/main" userId="S-1-5-21-2066316708-82846456-1609722162-369623" providerId="AD"/>
      </p:ext>
    </p:extLst>
  </p:cmAuthor>
  <p:cmAuthor id="2" name="STUART, DANIELLE C [AG/1000]" initials="SDC[" lastIdx="11" clrIdx="1">
    <p:extLst>
      <p:ext uri="{19B8F6BF-5375-455C-9EA6-DF929625EA0E}">
        <p15:presenceInfo xmlns:p15="http://schemas.microsoft.com/office/powerpoint/2012/main" userId="S-1-5-21-2066316708-82846456-1609722162-80332" providerId="AD"/>
      </p:ext>
    </p:extLst>
  </p:cmAuthor>
  <p:cmAuthor id="3" name="VEIHMAN, MICA M [AG/1000]" initials="VMM[" lastIdx="2" clrIdx="2">
    <p:extLst>
      <p:ext uri="{19B8F6BF-5375-455C-9EA6-DF929625EA0E}">
        <p15:presenceInfo xmlns:p15="http://schemas.microsoft.com/office/powerpoint/2012/main" userId="S-1-5-21-2066316708-82846456-1609722162-960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1F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10" autoAdjust="0"/>
    <p:restoredTop sz="88055" autoAdjust="0"/>
  </p:normalViewPr>
  <p:slideViewPr>
    <p:cSldViewPr snapToGrid="0">
      <p:cViewPr varScale="1">
        <p:scale>
          <a:sx n="100" d="100"/>
          <a:sy n="100" d="100"/>
        </p:scale>
        <p:origin x="176" y="936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1920" y="-17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EONG, SAMI [AG/1000]" userId="S::scheo@monsanto.com::477f3918-0647-47a7-89aa-cfc741c71569" providerId="AD" clId="Web-{8393C6B3-05ED-DF56-2BEA-8678FF3C297B}"/>
    <pc:docChg chg="modSld">
      <pc:chgData name="CHEONG, SAMI [AG/1000]" userId="S::scheo@monsanto.com::477f3918-0647-47a7-89aa-cfc741c71569" providerId="AD" clId="Web-{8393C6B3-05ED-DF56-2BEA-8678FF3C297B}" dt="2018-10-18T14:16:43.132" v="0"/>
      <pc:docMkLst>
        <pc:docMk/>
      </pc:docMkLst>
      <pc:sldChg chg="mod modShow">
        <pc:chgData name="CHEONG, SAMI [AG/1000]" userId="S::scheo@monsanto.com::477f3918-0647-47a7-89aa-cfc741c71569" providerId="AD" clId="Web-{8393C6B3-05ED-DF56-2BEA-8678FF3C297B}" dt="2018-10-18T14:16:43.132" v="0"/>
        <pc:sldMkLst>
          <pc:docMk/>
          <pc:sldMk cId="1831109544" sldId="73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45D2CA4-A5A6-47D8-AEB6-1C5D140C8B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3169920" cy="481727"/>
          </a:xfrm>
          <a:prstGeom prst="rect">
            <a:avLst/>
          </a:prstGeom>
        </p:spPr>
        <p:txBody>
          <a:bodyPr vert="horz" lIns="96637" tIns="48318" rIns="96637" bIns="4831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AA3BA9-4ADF-452F-A072-CC48019CDB0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9" y="0"/>
            <a:ext cx="3169920" cy="481727"/>
          </a:xfrm>
          <a:prstGeom prst="rect">
            <a:avLst/>
          </a:prstGeom>
        </p:spPr>
        <p:txBody>
          <a:bodyPr vert="horz" lIns="96637" tIns="48318" rIns="96637" bIns="48318" rtlCol="0"/>
          <a:lstStyle>
            <a:lvl1pPr algn="r">
              <a:defRPr sz="1200"/>
            </a:lvl1pPr>
          </a:lstStyle>
          <a:p>
            <a:fld id="{F03307DD-03B2-46DF-AEE2-350192D06225}" type="datetimeFigureOut">
              <a:rPr lang="en-US" smtClean="0"/>
              <a:t>10/18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C2D3BC-0669-4612-8F4F-0F4D07216A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119475"/>
            <a:ext cx="3169920" cy="481726"/>
          </a:xfrm>
          <a:prstGeom prst="rect">
            <a:avLst/>
          </a:prstGeom>
        </p:spPr>
        <p:txBody>
          <a:bodyPr vert="horz" lIns="96637" tIns="48318" rIns="96637" bIns="4831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AC4B38-818E-435D-A5B6-1195F402D9A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9" y="9119475"/>
            <a:ext cx="3169920" cy="481726"/>
          </a:xfrm>
          <a:prstGeom prst="rect">
            <a:avLst/>
          </a:prstGeom>
        </p:spPr>
        <p:txBody>
          <a:bodyPr vert="horz" lIns="96637" tIns="48318" rIns="96637" bIns="48318" rtlCol="0" anchor="b"/>
          <a:lstStyle>
            <a:lvl1pPr algn="r">
              <a:defRPr sz="1200"/>
            </a:lvl1pPr>
          </a:lstStyle>
          <a:p>
            <a:fld id="{7AA22E2B-50E9-4770-AEF0-57547D7A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6751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69920" cy="481727"/>
          </a:xfrm>
          <a:prstGeom prst="rect">
            <a:avLst/>
          </a:prstGeom>
        </p:spPr>
        <p:txBody>
          <a:bodyPr vert="horz" lIns="96637" tIns="48318" rIns="96637" bIns="4831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20" cy="481727"/>
          </a:xfrm>
          <a:prstGeom prst="rect">
            <a:avLst/>
          </a:prstGeom>
        </p:spPr>
        <p:txBody>
          <a:bodyPr vert="horz" lIns="96637" tIns="48318" rIns="96637" bIns="48318" rtlCol="0"/>
          <a:lstStyle>
            <a:lvl1pPr algn="r">
              <a:defRPr sz="1200"/>
            </a:lvl1pPr>
          </a:lstStyle>
          <a:p>
            <a:fld id="{1009D013-3883-4D65-A6D9-A94B06B9481E}" type="datetimeFigureOut">
              <a:rPr lang="en-US" smtClean="0"/>
              <a:t>10/1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7" tIns="48318" rIns="96637" bIns="4831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37" tIns="48318" rIns="96637" bIns="4831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475"/>
            <a:ext cx="3169920" cy="481726"/>
          </a:xfrm>
          <a:prstGeom prst="rect">
            <a:avLst/>
          </a:prstGeom>
        </p:spPr>
        <p:txBody>
          <a:bodyPr vert="horz" lIns="96637" tIns="48318" rIns="96637" bIns="4831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1726"/>
          </a:xfrm>
          <a:prstGeom prst="rect">
            <a:avLst/>
          </a:prstGeom>
        </p:spPr>
        <p:txBody>
          <a:bodyPr vert="horz" lIns="96637" tIns="48318" rIns="96637" bIns="48318" rtlCol="0" anchor="b"/>
          <a:lstStyle>
            <a:lvl1pPr algn="r">
              <a:defRPr sz="1200"/>
            </a:lvl1pPr>
          </a:lstStyle>
          <a:p>
            <a:fld id="{9F029AF6-B2FC-468C-8964-3C38609EA5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785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D62F83-DA12-944E-BABC-51734745E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40CE29-1882-854B-8A91-D4C2E724D5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Bay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406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  <a:cs typeface="Al Bayan Plain" pitchFamily="2" charset="-78"/>
              </a:rPr>
              <a:t>80% users have adopted Domin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029AF6-B2FC-468C-8964-3C38609EA58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2160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029AF6-B2FC-468C-8964-3C38609EA58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972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w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w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w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w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wmf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w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9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DFA231-99AB-49EF-84A2-570AB39AD163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586095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751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983EB6-AB42-4B8E-8134-C84E608701B4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0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196044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949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E03E5B3-B388-44D0-AA87-D4A39B96F836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97726" y="617323"/>
            <a:ext cx="395299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61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551657"/>
            <a:ext cx="10801406" cy="5933094"/>
          </a:xfrm>
        </p:spPr>
        <p:txBody>
          <a:bodyPr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E4E3FB-3C80-46A2-B469-E98FC64350E8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38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32B0181-FAB4-4485-B123-90CDD2D8BA48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2586095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54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B705EB5-2097-4413-94BD-8357BAC47CB4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586095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39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901153-7889-454E-ABB7-02CC5A4587EC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586095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75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905953D-FF8C-4E64-BBCA-BB3EE61FDE75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586095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215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792" y="1735137"/>
            <a:ext cx="10801406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C10D2F2-CFDC-4EB0-8293-821B09892F76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2586095" y="6617933"/>
            <a:ext cx="8641125" cy="1080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948" y="590935"/>
            <a:ext cx="10801406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rgbClr val="10384F"/>
                </a:solidFill>
              </a:rPr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" y="0"/>
            <a:ext cx="12192000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r>
                <a:rPr lang="de-DE" sz="800" dirty="0">
                  <a:solidFill>
                    <a:srgbClr val="D30F4B"/>
                  </a:solidFill>
                </a:rPr>
                <a:t>14,20</a:t>
              </a:r>
            </a:p>
            <a:p>
              <a:r>
                <a:rPr lang="de-DE" sz="800" dirty="0">
                  <a:solidFill>
                    <a:srgbClr val="D30F4B"/>
                  </a:solidFill>
                </a:rPr>
                <a:t>5.59</a:t>
              </a:r>
            </a:p>
            <a:p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7,45</a:t>
              </a:r>
            </a:p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2.93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r>
                <a:rPr lang="de-DE" sz="800" dirty="0">
                  <a:solidFill>
                    <a:srgbClr val="D30F4B"/>
                  </a:solidFill>
                </a:rPr>
                <a:t>6,45</a:t>
              </a:r>
            </a:p>
            <a:p>
              <a:r>
                <a:rPr lang="de-DE" sz="800" dirty="0">
                  <a:solidFill>
                    <a:srgbClr val="D30F4B"/>
                  </a:solidFill>
                </a:rPr>
                <a:t>2.5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0,30</a:t>
              </a:r>
            </a:p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0.1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r>
                <a:rPr lang="de-DE" sz="800" dirty="0">
                  <a:solidFill>
                    <a:srgbClr val="D30F4B"/>
                  </a:solidFill>
                </a:rPr>
                <a:t>1,30</a:t>
              </a:r>
            </a:p>
            <a:p>
              <a:r>
                <a:rPr lang="de-DE" sz="800" dirty="0">
                  <a:solidFill>
                    <a:srgbClr val="D30F4B"/>
                  </a:solidFill>
                </a:rPr>
                <a:t>0.51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8,06</a:t>
              </a:r>
            </a:p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3.1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r>
                <a:rPr lang="de-DE" sz="800" dirty="0">
                  <a:solidFill>
                    <a:srgbClr val="D30F4B"/>
                  </a:solidFill>
                </a:rPr>
                <a:t>9,06</a:t>
              </a:r>
            </a:p>
            <a:p>
              <a:r>
                <a:rPr lang="de-DE" sz="800" dirty="0">
                  <a:solidFill>
                    <a:srgbClr val="D30F4B"/>
                  </a:solidFill>
                </a:rPr>
                <a:t>3.5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15,80</a:t>
              </a:r>
            </a:p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6.2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4,70</a:t>
              </a:r>
            </a:p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1.85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8,49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2,40</a:t>
              </a:r>
            </a:p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0.9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1,40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/>
              <a:r>
                <a:rPr lang="de-DE" sz="800" dirty="0">
                  <a:solidFill>
                    <a:srgbClr val="D30F4B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rgbClr val="FF316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r>
                <a:rPr lang="de-DE" sz="600" dirty="0">
                  <a:solidFill>
                    <a:srgbClr val="FF3162"/>
                  </a:solidFill>
                </a:rPr>
                <a:t>0.31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rgbClr val="FF316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rgbClr val="FF3162"/>
                  </a:solidFill>
                </a:rPr>
                <a:t>0.75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792" y="1735137"/>
            <a:ext cx="10801406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097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6711AC1-0B2B-467B-A8A7-7B4F2576BAAD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09" y="1732751"/>
            <a:ext cx="10801406" cy="4752000"/>
          </a:xfrm>
        </p:spPr>
        <p:txBody>
          <a:bodyPr lIns="72000" rIns="72000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707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1319E5-D749-4098-9D57-B23277406E4E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8929467-0CA6-4613-B0CF-D46BA3270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06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F648CD0-6CD2-495F-B4B7-3833045297B3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586095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2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915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1"/>
            <a:ext cx="169222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CB37601-DACE-49DC-98FF-A40AD5353419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70965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FF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709653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4440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502B95-AD8E-4E9C-948C-FDDC8FEA4D7E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10" y="1732751"/>
            <a:ext cx="10801405" cy="4752000"/>
          </a:xfrm>
        </p:spPr>
        <p:txBody>
          <a:bodyPr lIns="71907" rIns="71907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60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941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0" y="1755"/>
          <a:ext cx="2116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0" y="1755"/>
                        <a:ext cx="2116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r Verbinder 13"/>
          <p:cNvCxnSpPr/>
          <p:nvPr userDrawn="1"/>
        </p:nvCxnSpPr>
        <p:spPr bwMode="gray">
          <a:xfrm>
            <a:off x="1" y="6416923"/>
            <a:ext cx="12192000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9846" y="1622428"/>
            <a:ext cx="11240068" cy="4533112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254983" y="6424622"/>
            <a:ext cx="8081539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7" indent="0">
              <a:defRPr sz="800">
                <a:solidFill>
                  <a:schemeClr val="tx1"/>
                </a:solidFill>
              </a:defRPr>
            </a:lvl3pPr>
            <a:lvl4pPr marL="3170" indent="0">
              <a:defRPr sz="800">
                <a:solidFill>
                  <a:schemeClr val="tx1"/>
                </a:solidFill>
              </a:defRPr>
            </a:lvl4pPr>
            <a:lvl5pPr marL="3170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pPr defTabSz="901455"/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74910" y="6424622"/>
            <a:ext cx="761156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7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pPr defTabSz="901455"/>
            <a:r>
              <a:rPr lang="en-US">
                <a:solidFill>
                  <a:srgbClr val="4D4D4D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4D4D4D"/>
                </a:solidFill>
              </a:rPr>
              <a:pPr defTabSz="901455"/>
              <a:t>‹#›</a:t>
            </a:fld>
            <a:endParaRPr lang="en-US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73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6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58F8CE-1484-4127-8DAF-E8A525708A87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10" y="1732751"/>
            <a:ext cx="10801405" cy="4752000"/>
          </a:xfrm>
        </p:spPr>
        <p:txBody>
          <a:bodyPr lIns="71907" rIns="71907"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60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702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8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B39B67-7589-4C58-92DB-330152A749F7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10" y="1732751"/>
            <a:ext cx="10801405" cy="4752000"/>
          </a:xfrm>
        </p:spPr>
        <p:txBody>
          <a:bodyPr lIns="71907" rIns="71907"/>
          <a:lstStyle>
            <a:lvl2pPr marL="269680" indent="-269680">
              <a:buFontTx/>
              <a:buBlip>
                <a:blip r:embed="rId2"/>
              </a:buBlip>
              <a:defRPr/>
            </a:lvl2pPr>
            <a:lvl5pP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60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622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8C2D64-4FAC-4E99-9A01-9594AB7E437F}" type="datetime1">
              <a:rPr lang="en-US" smtClean="0"/>
              <a:t>10/18/2018</a:t>
            </a:fld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18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9724" y="1622428"/>
            <a:ext cx="11240068" cy="4533112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822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20E846-30E4-4295-BA00-167CDE1020C2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09" y="1732751"/>
            <a:ext cx="10801406" cy="4752000"/>
          </a:xfrm>
        </p:spPr>
        <p:txBody>
          <a:bodyPr lIns="72000" rIns="72000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2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with page 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BDD14FE2-97BF-49DF-97B5-27EF76594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5720" y="6400802"/>
            <a:ext cx="611588" cy="365125"/>
          </a:xfrm>
        </p:spPr>
        <p:txBody>
          <a:bodyPr/>
          <a:lstStyle>
            <a:lvl1pPr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31A03C5-5930-E349-9014-4F3746B6D7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2218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2428" y="0"/>
            <a:ext cx="10289572" cy="6858000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>
          <a:xfrm flipV="1">
            <a:off x="1" y="0"/>
            <a:ext cx="6048375" cy="6858000"/>
          </a:xfrm>
          <a:custGeom>
            <a:avLst/>
            <a:gdLst>
              <a:gd name="connsiteX0" fmla="*/ 0 w 6048375"/>
              <a:gd name="connsiteY0" fmla="*/ 6858000 h 6858000"/>
              <a:gd name="connsiteX1" fmla="*/ 4717143 w 6048375"/>
              <a:gd name="connsiteY1" fmla="*/ 6858000 h 6858000"/>
              <a:gd name="connsiteX2" fmla="*/ 6048375 w 6048375"/>
              <a:gd name="connsiteY2" fmla="*/ 6858000 h 6858000"/>
              <a:gd name="connsiteX3" fmla="*/ 4717143 w 6048375"/>
              <a:gd name="connsiteY3" fmla="*/ 1712 h 6858000"/>
              <a:gd name="connsiteX4" fmla="*/ 4717143 w 6048375"/>
              <a:gd name="connsiteY4" fmla="*/ 0 h 6858000"/>
              <a:gd name="connsiteX5" fmla="*/ 0 w 604837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858000">
                <a:moveTo>
                  <a:pt x="0" y="6858000"/>
                </a:moveTo>
                <a:lnTo>
                  <a:pt x="4717143" y="6858000"/>
                </a:lnTo>
                <a:lnTo>
                  <a:pt x="6048375" y="6858000"/>
                </a:lnTo>
                <a:lnTo>
                  <a:pt x="4717143" y="1712"/>
                </a:lnTo>
                <a:lnTo>
                  <a:pt x="4717143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4422"/>
              </a:gs>
              <a:gs pos="54000">
                <a:srgbClr val="004422"/>
              </a:gs>
              <a:gs pos="100000">
                <a:srgbClr val="004422">
                  <a:alpha val="8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6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0248" y="1618745"/>
            <a:ext cx="4905681" cy="775504"/>
          </a:xfrm>
        </p:spPr>
        <p:txBody>
          <a:bodyPr anchor="b" anchorCtr="0"/>
          <a:lstStyle>
            <a:lvl1pPr algn="l">
              <a:defRPr sz="1997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58248" y="2432993"/>
            <a:ext cx="3973509" cy="1655762"/>
          </a:xfrm>
        </p:spPr>
        <p:txBody>
          <a:bodyPr/>
          <a:lstStyle>
            <a:lvl1pPr marL="0" indent="0" algn="l">
              <a:buNone/>
              <a:defRPr sz="4794" i="1">
                <a:solidFill>
                  <a:schemeClr val="accent6"/>
                </a:solidFill>
              </a:defRPr>
            </a:lvl1pPr>
            <a:lvl2pPr marL="456558" indent="0" algn="ctr">
              <a:buNone/>
              <a:defRPr sz="1997"/>
            </a:lvl2pPr>
            <a:lvl3pPr marL="913116" indent="0" algn="ctr">
              <a:buNone/>
              <a:defRPr sz="1798"/>
            </a:lvl3pPr>
            <a:lvl4pPr marL="1369674" indent="0" algn="ctr">
              <a:buNone/>
              <a:defRPr sz="1598"/>
            </a:lvl4pPr>
            <a:lvl5pPr marL="1826232" indent="0" algn="ctr">
              <a:buNone/>
              <a:defRPr sz="1598"/>
            </a:lvl5pPr>
            <a:lvl6pPr marL="2282790" indent="0" algn="ctr">
              <a:buNone/>
              <a:defRPr sz="1598"/>
            </a:lvl6pPr>
            <a:lvl7pPr marL="2739348" indent="0" algn="ctr">
              <a:buNone/>
              <a:defRPr sz="1598"/>
            </a:lvl7pPr>
            <a:lvl8pPr marL="3195907" indent="0" algn="ctr">
              <a:buNone/>
              <a:defRPr sz="1598"/>
            </a:lvl8pPr>
            <a:lvl9pPr marL="3652465" indent="0" algn="ctr">
              <a:buNone/>
              <a:defRPr sz="1598"/>
            </a:lvl9pPr>
          </a:lstStyle>
          <a:p>
            <a:r>
              <a:rPr lang="en-US" dirty="0"/>
              <a:t>subtitle style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47" y="427911"/>
            <a:ext cx="828000" cy="828000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1248725" y="4732480"/>
            <a:ext cx="3684143" cy="699683"/>
          </a:xfrm>
        </p:spPr>
        <p:txBody>
          <a:bodyPr/>
          <a:lstStyle>
            <a:lvl1pPr marL="0" indent="0">
              <a:spcBef>
                <a:spcPts val="599"/>
              </a:spcBef>
              <a:buNone/>
              <a:defRPr sz="1498">
                <a:solidFill>
                  <a:schemeClr val="bg1"/>
                </a:solidFill>
              </a:defRPr>
            </a:lvl1pPr>
            <a:lvl2pPr marL="456558" indent="0">
              <a:buNone/>
              <a:defRPr sz="1398"/>
            </a:lvl2pPr>
            <a:lvl3pPr marL="913116" indent="0">
              <a:buNone/>
              <a:defRPr sz="1199"/>
            </a:lvl3pPr>
            <a:lvl4pPr marL="1369674" indent="0">
              <a:buNone/>
              <a:defRPr sz="998"/>
            </a:lvl4pPr>
            <a:lvl5pPr marL="1826232" indent="0">
              <a:buNone/>
              <a:defRPr sz="998"/>
            </a:lvl5pPr>
            <a:lvl6pPr marL="2282790" indent="0">
              <a:buNone/>
              <a:defRPr sz="998"/>
            </a:lvl6pPr>
            <a:lvl7pPr marL="2739348" indent="0">
              <a:buNone/>
              <a:defRPr sz="998"/>
            </a:lvl7pPr>
            <a:lvl8pPr marL="3195907" indent="0">
              <a:buNone/>
              <a:defRPr sz="998"/>
            </a:lvl8pPr>
            <a:lvl9pPr marL="3652465" indent="0">
              <a:buNone/>
              <a:defRPr sz="998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8725" y="4427281"/>
            <a:ext cx="331200" cy="10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569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836D27B-BBE6-4392-806E-9C7BDAD22D19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586095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3240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sp>
        <p:nvSpPr>
          <p:cNvPr id="12" name="Freeform 11"/>
          <p:cNvSpPr/>
          <p:nvPr userDrawn="1"/>
        </p:nvSpPr>
        <p:spPr>
          <a:xfrm flipV="1">
            <a:off x="-1" y="0"/>
            <a:ext cx="6048376" cy="6858000"/>
          </a:xfrm>
          <a:custGeom>
            <a:avLst/>
            <a:gdLst>
              <a:gd name="connsiteX0" fmla="*/ 0 w 6048375"/>
              <a:gd name="connsiteY0" fmla="*/ 6858000 h 6858000"/>
              <a:gd name="connsiteX1" fmla="*/ 4717143 w 6048375"/>
              <a:gd name="connsiteY1" fmla="*/ 6858000 h 6858000"/>
              <a:gd name="connsiteX2" fmla="*/ 6048375 w 6048375"/>
              <a:gd name="connsiteY2" fmla="*/ 6858000 h 6858000"/>
              <a:gd name="connsiteX3" fmla="*/ 4717143 w 6048375"/>
              <a:gd name="connsiteY3" fmla="*/ 1712 h 6858000"/>
              <a:gd name="connsiteX4" fmla="*/ 4717143 w 6048375"/>
              <a:gd name="connsiteY4" fmla="*/ 0 h 6858000"/>
              <a:gd name="connsiteX5" fmla="*/ 0 w 604837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858000">
                <a:moveTo>
                  <a:pt x="0" y="6858000"/>
                </a:moveTo>
                <a:lnTo>
                  <a:pt x="4717143" y="6858000"/>
                </a:lnTo>
                <a:lnTo>
                  <a:pt x="6048375" y="6858000"/>
                </a:lnTo>
                <a:lnTo>
                  <a:pt x="4717143" y="1712"/>
                </a:lnTo>
                <a:lnTo>
                  <a:pt x="4717143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54000">
                <a:schemeClr val="tx2">
                  <a:alpha val="98000"/>
                </a:schemeClr>
              </a:gs>
              <a:gs pos="100000">
                <a:schemeClr val="tx2">
                  <a:alpha val="51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5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0248" y="1618745"/>
            <a:ext cx="4905681" cy="775504"/>
          </a:xfrm>
        </p:spPr>
        <p:txBody>
          <a:bodyPr anchor="b" anchorCtr="0"/>
          <a:lstStyle>
            <a:lvl1pPr algn="l">
              <a:defRPr sz="1997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58248" y="2432993"/>
            <a:ext cx="3973509" cy="1655762"/>
          </a:xfrm>
        </p:spPr>
        <p:txBody>
          <a:bodyPr/>
          <a:lstStyle>
            <a:lvl1pPr marL="0" indent="0" algn="l">
              <a:buNone/>
              <a:defRPr sz="4794" i="1">
                <a:solidFill>
                  <a:schemeClr val="accent6"/>
                </a:solidFill>
              </a:defRPr>
            </a:lvl1pPr>
            <a:lvl2pPr marL="456558" indent="0" algn="ctr">
              <a:buNone/>
              <a:defRPr sz="1997"/>
            </a:lvl2pPr>
            <a:lvl3pPr marL="913116" indent="0" algn="ctr">
              <a:buNone/>
              <a:defRPr sz="1798"/>
            </a:lvl3pPr>
            <a:lvl4pPr marL="1369674" indent="0" algn="ctr">
              <a:buNone/>
              <a:defRPr sz="1598"/>
            </a:lvl4pPr>
            <a:lvl5pPr marL="1826232" indent="0" algn="ctr">
              <a:buNone/>
              <a:defRPr sz="1598"/>
            </a:lvl5pPr>
            <a:lvl6pPr marL="2282790" indent="0" algn="ctr">
              <a:buNone/>
              <a:defRPr sz="1598"/>
            </a:lvl6pPr>
            <a:lvl7pPr marL="2739348" indent="0" algn="ctr">
              <a:buNone/>
              <a:defRPr sz="1598"/>
            </a:lvl7pPr>
            <a:lvl8pPr marL="3195907" indent="0" algn="ctr">
              <a:buNone/>
              <a:defRPr sz="1598"/>
            </a:lvl8pPr>
            <a:lvl9pPr marL="3652465" indent="0" algn="ctr">
              <a:buNone/>
              <a:defRPr sz="1598"/>
            </a:lvl9pPr>
          </a:lstStyle>
          <a:p>
            <a:r>
              <a:rPr lang="en-US" dirty="0"/>
              <a:t>subtitle style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47" y="427911"/>
            <a:ext cx="828000" cy="828000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1248725" y="4732480"/>
            <a:ext cx="3684143" cy="699683"/>
          </a:xfrm>
        </p:spPr>
        <p:txBody>
          <a:bodyPr/>
          <a:lstStyle>
            <a:lvl1pPr marL="0" indent="0">
              <a:spcBef>
                <a:spcPts val="599"/>
              </a:spcBef>
              <a:buNone/>
              <a:defRPr sz="1498">
                <a:solidFill>
                  <a:schemeClr val="bg1"/>
                </a:solidFill>
              </a:defRPr>
            </a:lvl1pPr>
            <a:lvl2pPr marL="456558" indent="0">
              <a:buNone/>
              <a:defRPr sz="1398"/>
            </a:lvl2pPr>
            <a:lvl3pPr marL="913116" indent="0">
              <a:buNone/>
              <a:defRPr sz="1199"/>
            </a:lvl3pPr>
            <a:lvl4pPr marL="1369674" indent="0">
              <a:buNone/>
              <a:defRPr sz="998"/>
            </a:lvl4pPr>
            <a:lvl5pPr marL="1826232" indent="0">
              <a:buNone/>
              <a:defRPr sz="998"/>
            </a:lvl5pPr>
            <a:lvl6pPr marL="2282790" indent="0">
              <a:buNone/>
              <a:defRPr sz="998"/>
            </a:lvl6pPr>
            <a:lvl7pPr marL="2739348" indent="0">
              <a:buNone/>
              <a:defRPr sz="998"/>
            </a:lvl7pPr>
            <a:lvl8pPr marL="3195907" indent="0">
              <a:buNone/>
              <a:defRPr sz="998"/>
            </a:lvl8pPr>
            <a:lvl9pPr marL="3652465" indent="0">
              <a:buNone/>
              <a:defRPr sz="998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8725" y="4427281"/>
            <a:ext cx="331200" cy="10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5361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917844" y="0"/>
            <a:ext cx="10274157" cy="6858000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>
          <a:xfrm flipV="1">
            <a:off x="1" y="0"/>
            <a:ext cx="6048375" cy="6858000"/>
          </a:xfrm>
          <a:custGeom>
            <a:avLst/>
            <a:gdLst>
              <a:gd name="connsiteX0" fmla="*/ 0 w 6048375"/>
              <a:gd name="connsiteY0" fmla="*/ 6858000 h 6858000"/>
              <a:gd name="connsiteX1" fmla="*/ 4717143 w 6048375"/>
              <a:gd name="connsiteY1" fmla="*/ 6858000 h 6858000"/>
              <a:gd name="connsiteX2" fmla="*/ 6048375 w 6048375"/>
              <a:gd name="connsiteY2" fmla="*/ 6858000 h 6858000"/>
              <a:gd name="connsiteX3" fmla="*/ 4717143 w 6048375"/>
              <a:gd name="connsiteY3" fmla="*/ 1712 h 6858000"/>
              <a:gd name="connsiteX4" fmla="*/ 4717143 w 6048375"/>
              <a:gd name="connsiteY4" fmla="*/ 0 h 6858000"/>
              <a:gd name="connsiteX5" fmla="*/ 0 w 604837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858000">
                <a:moveTo>
                  <a:pt x="0" y="6858000"/>
                </a:moveTo>
                <a:lnTo>
                  <a:pt x="4717143" y="6858000"/>
                </a:lnTo>
                <a:lnTo>
                  <a:pt x="6048375" y="6858000"/>
                </a:lnTo>
                <a:lnTo>
                  <a:pt x="4717143" y="1712"/>
                </a:lnTo>
                <a:lnTo>
                  <a:pt x="471714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6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0248" y="1618745"/>
            <a:ext cx="4905681" cy="775504"/>
          </a:xfrm>
        </p:spPr>
        <p:txBody>
          <a:bodyPr anchor="b" anchorCtr="0"/>
          <a:lstStyle>
            <a:lvl1pPr algn="l">
              <a:defRPr sz="1997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58248" y="2432993"/>
            <a:ext cx="3973509" cy="1655762"/>
          </a:xfrm>
        </p:spPr>
        <p:txBody>
          <a:bodyPr/>
          <a:lstStyle>
            <a:lvl1pPr marL="0" indent="0" algn="l">
              <a:buNone/>
              <a:defRPr sz="4794" i="1">
                <a:solidFill>
                  <a:schemeClr val="accent6"/>
                </a:solidFill>
              </a:defRPr>
            </a:lvl1pPr>
            <a:lvl2pPr marL="456558" indent="0" algn="ctr">
              <a:buNone/>
              <a:defRPr sz="1997"/>
            </a:lvl2pPr>
            <a:lvl3pPr marL="913116" indent="0" algn="ctr">
              <a:buNone/>
              <a:defRPr sz="1798"/>
            </a:lvl3pPr>
            <a:lvl4pPr marL="1369674" indent="0" algn="ctr">
              <a:buNone/>
              <a:defRPr sz="1598"/>
            </a:lvl4pPr>
            <a:lvl5pPr marL="1826232" indent="0" algn="ctr">
              <a:buNone/>
              <a:defRPr sz="1598"/>
            </a:lvl5pPr>
            <a:lvl6pPr marL="2282790" indent="0" algn="ctr">
              <a:buNone/>
              <a:defRPr sz="1598"/>
            </a:lvl6pPr>
            <a:lvl7pPr marL="2739348" indent="0" algn="ctr">
              <a:buNone/>
              <a:defRPr sz="1598"/>
            </a:lvl7pPr>
            <a:lvl8pPr marL="3195907" indent="0" algn="ctr">
              <a:buNone/>
              <a:defRPr sz="1598"/>
            </a:lvl8pPr>
            <a:lvl9pPr marL="3652465" indent="0" algn="ctr">
              <a:buNone/>
              <a:defRPr sz="1598"/>
            </a:lvl9pPr>
          </a:lstStyle>
          <a:p>
            <a:r>
              <a:rPr lang="en-US" dirty="0"/>
              <a:t>subtitle style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47" y="427911"/>
            <a:ext cx="828000" cy="828000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1248725" y="4732480"/>
            <a:ext cx="3684143" cy="699683"/>
          </a:xfrm>
        </p:spPr>
        <p:txBody>
          <a:bodyPr/>
          <a:lstStyle>
            <a:lvl1pPr marL="0" indent="0">
              <a:spcBef>
                <a:spcPts val="599"/>
              </a:spcBef>
              <a:buNone/>
              <a:defRPr sz="1498">
                <a:solidFill>
                  <a:schemeClr val="bg1"/>
                </a:solidFill>
              </a:defRPr>
            </a:lvl1pPr>
            <a:lvl2pPr marL="456558" indent="0">
              <a:buNone/>
              <a:defRPr sz="1398"/>
            </a:lvl2pPr>
            <a:lvl3pPr marL="913116" indent="0">
              <a:buNone/>
              <a:defRPr sz="1199"/>
            </a:lvl3pPr>
            <a:lvl4pPr marL="1369674" indent="0">
              <a:buNone/>
              <a:defRPr sz="998"/>
            </a:lvl4pPr>
            <a:lvl5pPr marL="1826232" indent="0">
              <a:buNone/>
              <a:defRPr sz="998"/>
            </a:lvl5pPr>
            <a:lvl6pPr marL="2282790" indent="0">
              <a:buNone/>
              <a:defRPr sz="998"/>
            </a:lvl6pPr>
            <a:lvl7pPr marL="2739348" indent="0">
              <a:buNone/>
              <a:defRPr sz="998"/>
            </a:lvl7pPr>
            <a:lvl8pPr marL="3195907" indent="0">
              <a:buNone/>
              <a:defRPr sz="998"/>
            </a:lvl8pPr>
            <a:lvl9pPr marL="3652465" indent="0">
              <a:buNone/>
              <a:defRPr sz="998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8725" y="4427281"/>
            <a:ext cx="331200" cy="10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4477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7125" y="196539"/>
            <a:ext cx="10406063" cy="108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27125" y="1895254"/>
            <a:ext cx="10373645" cy="42817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C386D-E505-44AE-9C1B-BEC381C4401D}" type="datetime1">
              <a:rPr lang="en-US" smtClean="0"/>
              <a:t>10/18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66313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27126" y="1895254"/>
            <a:ext cx="10373645" cy="42817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3CA12-462E-4D1C-AEE3-A614CB059608}" type="datetime1">
              <a:rPr lang="en-US" smtClean="0"/>
              <a:t>10/18/2018</a:t>
            </a:fld>
            <a:endParaRPr lang="en-GB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1127126" y="1348206"/>
            <a:ext cx="10406062" cy="547048"/>
          </a:xfrm>
        </p:spPr>
        <p:txBody>
          <a:bodyPr anchor="t" anchorCtr="0"/>
          <a:lstStyle>
            <a:lvl1pPr marL="0" indent="0">
              <a:buNone/>
              <a:defRPr sz="1994" b="0">
                <a:solidFill>
                  <a:schemeClr val="accent3"/>
                </a:solidFill>
              </a:defRPr>
            </a:lvl1pPr>
            <a:lvl2pPr marL="456558" indent="0">
              <a:buNone/>
              <a:defRPr sz="1997" b="1"/>
            </a:lvl2pPr>
            <a:lvl3pPr marL="913116" indent="0">
              <a:buNone/>
              <a:defRPr sz="1798" b="1"/>
            </a:lvl3pPr>
            <a:lvl4pPr marL="1369674" indent="0">
              <a:buNone/>
              <a:defRPr sz="1598" b="1"/>
            </a:lvl4pPr>
            <a:lvl5pPr marL="1826232" indent="0">
              <a:buNone/>
              <a:defRPr sz="1598" b="1"/>
            </a:lvl5pPr>
            <a:lvl6pPr marL="2282790" indent="0">
              <a:buNone/>
              <a:defRPr sz="1598" b="1"/>
            </a:lvl6pPr>
            <a:lvl7pPr marL="2739348" indent="0">
              <a:buNone/>
              <a:defRPr sz="1598" b="1"/>
            </a:lvl7pPr>
            <a:lvl8pPr marL="3195907" indent="0">
              <a:buNone/>
              <a:defRPr sz="1598" b="1"/>
            </a:lvl8pPr>
            <a:lvl9pPr marL="3652465" indent="0">
              <a:buNone/>
              <a:defRPr sz="159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82866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5"/>
          <p:cNvSpPr>
            <a:spLocks/>
          </p:cNvSpPr>
          <p:nvPr userDrawn="1"/>
        </p:nvSpPr>
        <p:spPr bwMode="auto">
          <a:xfrm>
            <a:off x="0" y="0"/>
            <a:ext cx="2051050" cy="6858000"/>
          </a:xfrm>
          <a:custGeom>
            <a:avLst/>
            <a:gdLst>
              <a:gd name="T0" fmla="*/ 0 w 1292"/>
              <a:gd name="T1" fmla="*/ 0 h 4320"/>
              <a:gd name="T2" fmla="*/ 0 w 1292"/>
              <a:gd name="T3" fmla="*/ 4320 h 4320"/>
              <a:gd name="T4" fmla="*/ 969 w 1292"/>
              <a:gd name="T5" fmla="*/ 4320 h 4320"/>
              <a:gd name="T6" fmla="*/ 1292 w 1292"/>
              <a:gd name="T7" fmla="*/ 0 h 4320"/>
              <a:gd name="T8" fmla="*/ 0 w 1292"/>
              <a:gd name="T9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2" h="4320">
                <a:moveTo>
                  <a:pt x="0" y="0"/>
                </a:moveTo>
                <a:lnTo>
                  <a:pt x="0" y="4320"/>
                </a:lnTo>
                <a:lnTo>
                  <a:pt x="969" y="4320"/>
                </a:lnTo>
                <a:lnTo>
                  <a:pt x="129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50000"/>
                </a:schemeClr>
              </a:gs>
              <a:gs pos="99180">
                <a:srgbClr val="0091C8">
                  <a:alpha val="50000"/>
                </a:srgbClr>
              </a:gs>
              <a:gs pos="83000">
                <a:srgbClr val="0091C8">
                  <a:alpha val="75000"/>
                </a:srgbClr>
              </a:gs>
            </a:gsLst>
            <a:lin ang="13200000" scaled="0"/>
            <a:tileRect/>
          </a:gradFill>
          <a:ln>
            <a:noFill/>
          </a:ln>
        </p:spPr>
        <p:txBody>
          <a:bodyPr vert="horz" wrap="square" lIns="91317" tIns="45658" rIns="91317" bIns="45658" numCol="1" anchor="t" anchorCtr="0" compatLnSpc="1">
            <a:prstTxWarp prst="textNoShape">
              <a:avLst/>
            </a:prstTxWarp>
          </a:bodyPr>
          <a:lstStyle/>
          <a:p>
            <a:endParaRPr lang="en-GB" sz="2396"/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714"/>
            <a:ext cx="1219809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1701" y="822325"/>
            <a:ext cx="4286308" cy="1767690"/>
          </a:xfrm>
        </p:spPr>
        <p:txBody>
          <a:bodyPr anchor="b"/>
          <a:lstStyle>
            <a:lvl1pPr algn="r">
              <a:defRPr sz="3495" b="1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72309" y="2501115"/>
            <a:ext cx="4889442" cy="1500187"/>
          </a:xfrm>
        </p:spPr>
        <p:txBody>
          <a:bodyPr/>
          <a:lstStyle>
            <a:lvl1pPr marL="0" indent="0">
              <a:buNone/>
              <a:defRPr sz="6291" i="1">
                <a:solidFill>
                  <a:schemeClr val="bg1"/>
                </a:solidFill>
              </a:defRPr>
            </a:lvl1pPr>
            <a:lvl2pPr marL="456558" indent="0">
              <a:buNone/>
              <a:defRPr sz="1997">
                <a:solidFill>
                  <a:schemeClr val="tx1">
                    <a:tint val="75000"/>
                  </a:schemeClr>
                </a:solidFill>
              </a:defRPr>
            </a:lvl2pPr>
            <a:lvl3pPr marL="913116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69674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4pPr>
            <a:lvl5pPr marL="1826232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5pPr>
            <a:lvl6pPr marL="2282790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6pPr>
            <a:lvl7pPr marL="2739348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7pPr>
            <a:lvl8pPr marL="3195907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8pPr>
            <a:lvl9pPr marL="3652465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A8C1BA1-799F-44B9-86D7-822CE5EAAC7A}" type="datetime1">
              <a:rPr lang="en-US" smtClean="0"/>
              <a:t>10/18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5740400" y="0"/>
            <a:ext cx="1346200" cy="6859713"/>
          </a:xfrm>
          <a:prstGeom prst="line">
            <a:avLst/>
          </a:prstGeom>
          <a:ln>
            <a:solidFill>
              <a:srgbClr val="80D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9664700" y="3149600"/>
            <a:ext cx="2533397" cy="3710114"/>
          </a:xfrm>
          <a:prstGeom prst="line">
            <a:avLst/>
          </a:prstGeom>
          <a:ln>
            <a:solidFill>
              <a:srgbClr val="80D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220" y="804863"/>
            <a:ext cx="450000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5874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5"/>
          <p:cNvSpPr>
            <a:spLocks/>
          </p:cNvSpPr>
          <p:nvPr userDrawn="1"/>
        </p:nvSpPr>
        <p:spPr bwMode="auto">
          <a:xfrm>
            <a:off x="0" y="0"/>
            <a:ext cx="2051050" cy="6858000"/>
          </a:xfrm>
          <a:custGeom>
            <a:avLst/>
            <a:gdLst>
              <a:gd name="T0" fmla="*/ 0 w 1292"/>
              <a:gd name="T1" fmla="*/ 0 h 4320"/>
              <a:gd name="T2" fmla="*/ 0 w 1292"/>
              <a:gd name="T3" fmla="*/ 4320 h 4320"/>
              <a:gd name="T4" fmla="*/ 969 w 1292"/>
              <a:gd name="T5" fmla="*/ 4320 h 4320"/>
              <a:gd name="T6" fmla="*/ 1292 w 1292"/>
              <a:gd name="T7" fmla="*/ 0 h 4320"/>
              <a:gd name="T8" fmla="*/ 0 w 1292"/>
              <a:gd name="T9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2" h="4320">
                <a:moveTo>
                  <a:pt x="0" y="0"/>
                </a:moveTo>
                <a:lnTo>
                  <a:pt x="0" y="4320"/>
                </a:lnTo>
                <a:lnTo>
                  <a:pt x="969" y="4320"/>
                </a:lnTo>
                <a:lnTo>
                  <a:pt x="129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3162">
                  <a:alpha val="49804"/>
                </a:srgbClr>
              </a:gs>
              <a:gs pos="99180">
                <a:srgbClr val="D70C5A">
                  <a:alpha val="49804"/>
                </a:srgbClr>
              </a:gs>
              <a:gs pos="83000">
                <a:srgbClr val="D70C5A">
                  <a:alpha val="74902"/>
                </a:srgbClr>
              </a:gs>
            </a:gsLst>
            <a:lin ang="13200000" scaled="0"/>
            <a:tileRect/>
          </a:gradFill>
          <a:ln>
            <a:noFill/>
          </a:ln>
        </p:spPr>
        <p:txBody>
          <a:bodyPr vert="horz" wrap="square" lIns="91317" tIns="45658" rIns="91317" bIns="45658" numCol="1" anchor="t" anchorCtr="0" compatLnSpc="1">
            <a:prstTxWarp prst="textNoShape">
              <a:avLst/>
            </a:prstTxWarp>
          </a:bodyPr>
          <a:lstStyle/>
          <a:p>
            <a:endParaRPr lang="en-GB" sz="239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1196" y="1191025"/>
            <a:ext cx="4286308" cy="1767690"/>
          </a:xfrm>
        </p:spPr>
        <p:txBody>
          <a:bodyPr anchor="b"/>
          <a:lstStyle>
            <a:lvl1pPr algn="r">
              <a:defRPr sz="6291" b="0" i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19790" y="2973064"/>
            <a:ext cx="4889442" cy="1377711"/>
          </a:xfrm>
        </p:spPr>
        <p:txBody>
          <a:bodyPr/>
          <a:lstStyle>
            <a:lvl1pPr marL="0" indent="0">
              <a:buNone/>
              <a:defRPr sz="3495" b="1" i="0">
                <a:solidFill>
                  <a:schemeClr val="tx2"/>
                </a:solidFill>
              </a:defRPr>
            </a:lvl1pPr>
            <a:lvl2pPr marL="456558" indent="0">
              <a:buNone/>
              <a:defRPr sz="1997">
                <a:solidFill>
                  <a:schemeClr val="tx1">
                    <a:tint val="75000"/>
                  </a:schemeClr>
                </a:solidFill>
              </a:defRPr>
            </a:lvl2pPr>
            <a:lvl3pPr marL="913116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69674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4pPr>
            <a:lvl5pPr marL="1826232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5pPr>
            <a:lvl6pPr marL="2282790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6pPr>
            <a:lvl7pPr marL="2739348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7pPr>
            <a:lvl8pPr marL="3195907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8pPr>
            <a:lvl9pPr marL="3652465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69947A-9116-480C-872F-0D3C4DB85CFD}" type="datetime1">
              <a:rPr lang="en-US" smtClean="0"/>
              <a:t>10/18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5740400" y="0"/>
            <a:ext cx="1346200" cy="6859713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1238866" y="1714"/>
            <a:ext cx="4704735" cy="685800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220" y="804863"/>
            <a:ext cx="450000" cy="450000"/>
          </a:xfrm>
          <a:prstGeom prst="rect">
            <a:avLst/>
          </a:prstGeom>
        </p:spPr>
      </p:pic>
      <p:sp>
        <p:nvSpPr>
          <p:cNvPr id="20" name="Text Placeholder 3"/>
          <p:cNvSpPr>
            <a:spLocks noGrp="1"/>
          </p:cNvSpPr>
          <p:nvPr>
            <p:ph type="body" sz="half" idx="13"/>
          </p:nvPr>
        </p:nvSpPr>
        <p:spPr>
          <a:xfrm>
            <a:off x="8642859" y="4714874"/>
            <a:ext cx="2518627" cy="115327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98" b="1" cap="none" baseline="0">
                <a:solidFill>
                  <a:schemeClr val="bg1"/>
                </a:solidFill>
              </a:defRPr>
            </a:lvl1pPr>
            <a:lvl2pPr marL="456558" indent="0">
              <a:buNone/>
              <a:defRPr sz="1398"/>
            </a:lvl2pPr>
            <a:lvl3pPr marL="913116" indent="0">
              <a:buNone/>
              <a:defRPr sz="1199"/>
            </a:lvl3pPr>
            <a:lvl4pPr marL="1369674" indent="0">
              <a:buNone/>
              <a:defRPr sz="998"/>
            </a:lvl4pPr>
            <a:lvl5pPr marL="1826232" indent="0">
              <a:buNone/>
              <a:defRPr sz="998"/>
            </a:lvl5pPr>
            <a:lvl6pPr marL="2282790" indent="0">
              <a:buNone/>
              <a:defRPr sz="998"/>
            </a:lvl6pPr>
            <a:lvl7pPr marL="2739348" indent="0">
              <a:buNone/>
              <a:defRPr sz="998"/>
            </a:lvl7pPr>
            <a:lvl8pPr marL="3195907" indent="0">
              <a:buNone/>
              <a:defRPr sz="998"/>
            </a:lvl8pPr>
            <a:lvl9pPr marL="3652465" indent="0">
              <a:buNone/>
              <a:defRPr sz="998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78210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5"/>
          <p:cNvSpPr>
            <a:spLocks/>
          </p:cNvSpPr>
          <p:nvPr userDrawn="1"/>
        </p:nvSpPr>
        <p:spPr bwMode="auto">
          <a:xfrm>
            <a:off x="0" y="0"/>
            <a:ext cx="2051050" cy="6858000"/>
          </a:xfrm>
          <a:custGeom>
            <a:avLst/>
            <a:gdLst>
              <a:gd name="T0" fmla="*/ 0 w 1292"/>
              <a:gd name="T1" fmla="*/ 0 h 4320"/>
              <a:gd name="T2" fmla="*/ 0 w 1292"/>
              <a:gd name="T3" fmla="*/ 4320 h 4320"/>
              <a:gd name="T4" fmla="*/ 969 w 1292"/>
              <a:gd name="T5" fmla="*/ 4320 h 4320"/>
              <a:gd name="T6" fmla="*/ 1292 w 1292"/>
              <a:gd name="T7" fmla="*/ 0 h 4320"/>
              <a:gd name="T8" fmla="*/ 0 w 1292"/>
              <a:gd name="T9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2" h="4320">
                <a:moveTo>
                  <a:pt x="0" y="0"/>
                </a:moveTo>
                <a:lnTo>
                  <a:pt x="0" y="4320"/>
                </a:lnTo>
                <a:lnTo>
                  <a:pt x="969" y="4320"/>
                </a:lnTo>
                <a:lnTo>
                  <a:pt x="129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99180">
                <a:srgbClr val="61BC00">
                  <a:alpha val="50000"/>
                </a:srgbClr>
              </a:gs>
              <a:gs pos="83000">
                <a:srgbClr val="61BC00">
                  <a:alpha val="74902"/>
                </a:srgbClr>
              </a:gs>
            </a:gsLst>
            <a:lin ang="13200000" scaled="0"/>
            <a:tileRect/>
          </a:gradFill>
          <a:ln>
            <a:noFill/>
          </a:ln>
        </p:spPr>
        <p:txBody>
          <a:bodyPr vert="horz" wrap="square" lIns="91317" tIns="45658" rIns="91317" bIns="45658" numCol="1" anchor="t" anchorCtr="0" compatLnSpc="1">
            <a:prstTxWarp prst="textNoShape">
              <a:avLst/>
            </a:prstTxWarp>
          </a:bodyPr>
          <a:lstStyle/>
          <a:p>
            <a:endParaRPr lang="en-GB" sz="2396"/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3540015" y="-1712"/>
            <a:ext cx="1332000" cy="6859713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2408" y="1191025"/>
            <a:ext cx="5855309" cy="1767690"/>
          </a:xfrm>
        </p:spPr>
        <p:txBody>
          <a:bodyPr anchor="b"/>
          <a:lstStyle>
            <a:lvl1pPr algn="r">
              <a:defRPr sz="6291" b="0" i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19790" y="2973064"/>
            <a:ext cx="4889442" cy="1377711"/>
          </a:xfrm>
        </p:spPr>
        <p:txBody>
          <a:bodyPr/>
          <a:lstStyle>
            <a:lvl1pPr marL="0" indent="0">
              <a:buNone/>
              <a:defRPr sz="3495" b="1" i="0">
                <a:solidFill>
                  <a:srgbClr val="004422"/>
                </a:solidFill>
              </a:defRPr>
            </a:lvl1pPr>
            <a:lvl2pPr marL="456558" indent="0">
              <a:buNone/>
              <a:defRPr sz="1997">
                <a:solidFill>
                  <a:schemeClr val="tx1">
                    <a:tint val="75000"/>
                  </a:schemeClr>
                </a:solidFill>
              </a:defRPr>
            </a:lvl2pPr>
            <a:lvl3pPr marL="913116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69674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4pPr>
            <a:lvl5pPr marL="1826232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5pPr>
            <a:lvl6pPr marL="2282790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6pPr>
            <a:lvl7pPr marL="2739348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7pPr>
            <a:lvl8pPr marL="3195907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8pPr>
            <a:lvl9pPr marL="3652465" indent="0">
              <a:buNone/>
              <a:defRPr sz="15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4EDE74A-81E9-4585-A8D9-188E78BFB995}" type="datetime1">
              <a:rPr lang="en-US" smtClean="0"/>
              <a:t>10/18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 flipV="1">
            <a:off x="745381" y="1"/>
            <a:ext cx="2484000" cy="6859714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220" y="804863"/>
            <a:ext cx="450000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9855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1789" y="1899628"/>
            <a:ext cx="5004000" cy="42817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9188" y="1895253"/>
            <a:ext cx="5004000" cy="42817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31647-0223-43B6-8091-D881DD4F7961}" type="datetime1">
              <a:rPr lang="en-US" smtClean="0"/>
              <a:t>10/18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 sz="997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 sz="997">
                <a:solidFill>
                  <a:schemeClr val="accent2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48519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0400" y="1899627"/>
            <a:ext cx="5004000" cy="4281710"/>
          </a:xfrm>
        </p:spPr>
        <p:txBody>
          <a:bodyPr/>
          <a:lstStyle>
            <a:lvl1pPr marL="177302" indent="-177302">
              <a:defRPr sz="1994"/>
            </a:lvl1pPr>
            <a:lvl2pPr marL="354604" indent="-177302">
              <a:spcBef>
                <a:spcPts val="897"/>
              </a:spcBef>
              <a:defRPr sz="1596"/>
            </a:lvl2pPr>
            <a:lvl3pPr>
              <a:defRPr sz="1596"/>
            </a:lvl3pPr>
            <a:lvl4pPr>
              <a:defRPr sz="1396"/>
            </a:lvl4pPr>
            <a:lvl5pPr>
              <a:defRPr sz="139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7799" y="1895253"/>
            <a:ext cx="5004000" cy="4281710"/>
          </a:xfrm>
        </p:spPr>
        <p:txBody>
          <a:bodyPr/>
          <a:lstStyle>
            <a:lvl1pPr marL="177302" indent="-177302">
              <a:defRPr sz="1994"/>
            </a:lvl1pPr>
            <a:lvl2pPr marL="354604" indent="-177302">
              <a:spcBef>
                <a:spcPts val="897"/>
              </a:spcBef>
              <a:defRPr sz="1596"/>
            </a:lvl2pPr>
            <a:lvl3pPr>
              <a:defRPr sz="1596"/>
            </a:lvl3pPr>
            <a:lvl4pPr>
              <a:defRPr sz="1396"/>
            </a:lvl4pPr>
            <a:lvl5pPr>
              <a:defRPr sz="139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F8FF1-52BF-4246-B5D9-DD85D6AD7CC1}" type="datetime1">
              <a:rPr lang="en-US" smtClean="0"/>
              <a:t>10/18/2018</a:t>
            </a:fld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1126800" y="1350001"/>
            <a:ext cx="10403772" cy="545252"/>
          </a:xfrm>
        </p:spPr>
        <p:txBody>
          <a:bodyPr anchor="t" anchorCtr="0"/>
          <a:lstStyle>
            <a:lvl1pPr marL="0" indent="0">
              <a:buNone/>
              <a:defRPr sz="1994" b="0">
                <a:solidFill>
                  <a:schemeClr val="accent3"/>
                </a:solidFill>
              </a:defRPr>
            </a:lvl1pPr>
            <a:lvl2pPr marL="456558" indent="0">
              <a:buNone/>
              <a:defRPr sz="1997" b="1"/>
            </a:lvl2pPr>
            <a:lvl3pPr marL="913116" indent="0">
              <a:buNone/>
              <a:defRPr sz="1798" b="1"/>
            </a:lvl3pPr>
            <a:lvl4pPr marL="1369674" indent="0">
              <a:buNone/>
              <a:defRPr sz="1598" b="1"/>
            </a:lvl4pPr>
            <a:lvl5pPr marL="1826232" indent="0">
              <a:buNone/>
              <a:defRPr sz="1598" b="1"/>
            </a:lvl5pPr>
            <a:lvl6pPr marL="2282790" indent="0">
              <a:buNone/>
              <a:defRPr sz="1598" b="1"/>
            </a:lvl6pPr>
            <a:lvl7pPr marL="2739348" indent="0">
              <a:buNone/>
              <a:defRPr sz="1598" b="1"/>
            </a:lvl7pPr>
            <a:lvl8pPr marL="3195907" indent="0">
              <a:buNone/>
              <a:defRPr sz="1598" b="1"/>
            </a:lvl8pPr>
            <a:lvl9pPr marL="3652465" indent="0">
              <a:buNone/>
              <a:defRPr sz="159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 sz="997"/>
            </a:lvl1pPr>
          </a:lstStyle>
          <a:p>
            <a:endParaRPr lang="en-GB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 sz="997">
                <a:solidFill>
                  <a:schemeClr val="accent2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61446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0400" y="2115185"/>
            <a:ext cx="5004000" cy="4046538"/>
          </a:xfrm>
        </p:spPr>
        <p:txBody>
          <a:bodyPr/>
          <a:lstStyle>
            <a:lvl1pPr marL="0" indent="0">
              <a:lnSpc>
                <a:spcPct val="103000"/>
              </a:lnSpc>
              <a:spcBef>
                <a:spcPts val="4194"/>
              </a:spcBef>
              <a:spcAft>
                <a:spcPts val="299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lnSpc>
                <a:spcPct val="103000"/>
              </a:lnSpc>
              <a:buFont typeface="Arial" panose="020B0604020202020204" pitchFamily="34" charset="0"/>
              <a:buNone/>
              <a:defRPr sz="1199"/>
            </a:lvl2pPr>
            <a:lvl3pPr marL="180721" indent="-180721">
              <a:lnSpc>
                <a:spcPct val="103000"/>
              </a:lnSpc>
              <a:buFontTx/>
              <a:buBlip>
                <a:blip r:embed="rId2"/>
              </a:buBlip>
              <a:defRPr sz="1199"/>
            </a:lvl3pPr>
            <a:lvl4pPr marL="356686" indent="-171209">
              <a:lnSpc>
                <a:spcPct val="103000"/>
              </a:lnSpc>
              <a:buFontTx/>
              <a:buBlip>
                <a:blip r:embed="rId3"/>
              </a:buBlip>
              <a:defRPr sz="1199"/>
            </a:lvl4pPr>
            <a:lvl5pPr marL="537407" indent="-180721">
              <a:lnSpc>
                <a:spcPct val="103000"/>
              </a:lnSpc>
              <a:defRPr sz="1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3CF5A-4D5C-4BB3-A054-5BDE38493F7D}" type="datetime1">
              <a:rPr lang="en-US" smtClean="0"/>
              <a:t>10/18/2018</a:t>
            </a:fld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1126800" y="1350001"/>
            <a:ext cx="10403772" cy="823912"/>
          </a:xfrm>
        </p:spPr>
        <p:txBody>
          <a:bodyPr anchor="t" anchorCtr="0"/>
          <a:lstStyle>
            <a:lvl1pPr marL="0" indent="0">
              <a:buNone/>
              <a:defRPr sz="1994" b="0">
                <a:solidFill>
                  <a:schemeClr val="accent3"/>
                </a:solidFill>
              </a:defRPr>
            </a:lvl1pPr>
            <a:lvl2pPr marL="456558" indent="0">
              <a:buNone/>
              <a:defRPr sz="1997" b="1"/>
            </a:lvl2pPr>
            <a:lvl3pPr marL="913116" indent="0">
              <a:buNone/>
              <a:defRPr sz="1798" b="1"/>
            </a:lvl3pPr>
            <a:lvl4pPr marL="1369674" indent="0">
              <a:buNone/>
              <a:defRPr sz="1598" b="1"/>
            </a:lvl4pPr>
            <a:lvl5pPr marL="1826232" indent="0">
              <a:buNone/>
              <a:defRPr sz="1598" b="1"/>
            </a:lvl5pPr>
            <a:lvl6pPr marL="2282790" indent="0">
              <a:buNone/>
              <a:defRPr sz="1598" b="1"/>
            </a:lvl6pPr>
            <a:lvl7pPr marL="2739348" indent="0">
              <a:buNone/>
              <a:defRPr sz="1598" b="1"/>
            </a:lvl7pPr>
            <a:lvl8pPr marL="3195907" indent="0">
              <a:buNone/>
              <a:defRPr sz="1598" b="1"/>
            </a:lvl8pPr>
            <a:lvl9pPr marL="3652465" indent="0">
              <a:buNone/>
              <a:defRPr sz="159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6527800" y="2115185"/>
            <a:ext cx="5004000" cy="4046538"/>
          </a:xfrm>
        </p:spPr>
        <p:txBody>
          <a:bodyPr/>
          <a:lstStyle>
            <a:lvl1pPr marL="0" indent="0">
              <a:lnSpc>
                <a:spcPct val="103000"/>
              </a:lnSpc>
              <a:spcBef>
                <a:spcPts val="4194"/>
              </a:spcBef>
              <a:spcAft>
                <a:spcPts val="299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lnSpc>
                <a:spcPct val="103000"/>
              </a:lnSpc>
              <a:buFont typeface="Arial" panose="020B0604020202020204" pitchFamily="34" charset="0"/>
              <a:buNone/>
              <a:defRPr sz="1199"/>
            </a:lvl2pPr>
            <a:lvl3pPr marL="180721" indent="-180721">
              <a:lnSpc>
                <a:spcPct val="103000"/>
              </a:lnSpc>
              <a:buFontTx/>
              <a:buBlip>
                <a:blip r:embed="rId2"/>
              </a:buBlip>
              <a:defRPr sz="1199"/>
            </a:lvl3pPr>
            <a:lvl4pPr marL="356686" indent="-171209">
              <a:lnSpc>
                <a:spcPct val="103000"/>
              </a:lnSpc>
              <a:buFontTx/>
              <a:buBlip>
                <a:blip r:embed="rId3"/>
              </a:buBlip>
              <a:defRPr sz="1199"/>
            </a:lvl4pPr>
            <a:lvl5pPr marL="537407" indent="-180721">
              <a:lnSpc>
                <a:spcPct val="103000"/>
              </a:lnSpc>
              <a:defRPr sz="1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 sz="997"/>
            </a:lvl1pPr>
          </a:lstStyle>
          <a:p>
            <a:endParaRPr lang="en-GB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 sz="997">
                <a:solidFill>
                  <a:schemeClr val="accent2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9727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4EF7A31-CF2B-4938-A3DC-0D78F5635110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40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389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0401" y="2115185"/>
            <a:ext cx="3199417" cy="4046538"/>
          </a:xfrm>
        </p:spPr>
        <p:txBody>
          <a:bodyPr/>
          <a:lstStyle>
            <a:lvl1pPr marL="0" indent="0">
              <a:lnSpc>
                <a:spcPct val="103000"/>
              </a:lnSpc>
              <a:spcBef>
                <a:spcPts val="4194"/>
              </a:spcBef>
              <a:spcAft>
                <a:spcPts val="299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lnSpc>
                <a:spcPct val="103000"/>
              </a:lnSpc>
              <a:buFont typeface="Arial" panose="020B0604020202020204" pitchFamily="34" charset="0"/>
              <a:buNone/>
              <a:defRPr sz="1199"/>
            </a:lvl2pPr>
            <a:lvl3pPr marL="180721" indent="-180721">
              <a:lnSpc>
                <a:spcPct val="103000"/>
              </a:lnSpc>
              <a:buFontTx/>
              <a:buBlip>
                <a:blip r:embed="rId2"/>
              </a:buBlip>
              <a:defRPr sz="1199"/>
            </a:lvl3pPr>
            <a:lvl4pPr marL="356686" indent="-171209">
              <a:lnSpc>
                <a:spcPct val="103000"/>
              </a:lnSpc>
              <a:buFontTx/>
              <a:buBlip>
                <a:blip r:embed="rId3"/>
              </a:buBlip>
              <a:defRPr sz="1199"/>
            </a:lvl4pPr>
            <a:lvl5pPr marL="537407" indent="-180721">
              <a:lnSpc>
                <a:spcPct val="103000"/>
              </a:lnSpc>
              <a:defRPr sz="1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1A41F3-32A4-4943-8101-3D52294DAE78}" type="datetime1">
              <a:rPr lang="en-US" smtClean="0"/>
              <a:t>10/18/2018</a:t>
            </a:fld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1126800" y="1350001"/>
            <a:ext cx="10403772" cy="823912"/>
          </a:xfrm>
        </p:spPr>
        <p:txBody>
          <a:bodyPr anchor="t" anchorCtr="0"/>
          <a:lstStyle>
            <a:lvl1pPr marL="0" indent="0">
              <a:buNone/>
              <a:defRPr sz="1994" b="0">
                <a:solidFill>
                  <a:schemeClr val="accent3"/>
                </a:solidFill>
              </a:defRPr>
            </a:lvl1pPr>
            <a:lvl2pPr marL="456558" indent="0">
              <a:buNone/>
              <a:defRPr sz="1997" b="1"/>
            </a:lvl2pPr>
            <a:lvl3pPr marL="913116" indent="0">
              <a:buNone/>
              <a:defRPr sz="1798" b="1"/>
            </a:lvl3pPr>
            <a:lvl4pPr marL="1369674" indent="0">
              <a:buNone/>
              <a:defRPr sz="1598" b="1"/>
            </a:lvl4pPr>
            <a:lvl5pPr marL="1826232" indent="0">
              <a:buNone/>
              <a:defRPr sz="1598" b="1"/>
            </a:lvl5pPr>
            <a:lvl6pPr marL="2282790" indent="0">
              <a:buNone/>
              <a:defRPr sz="1598" b="1"/>
            </a:lvl6pPr>
            <a:lvl7pPr marL="2739348" indent="0">
              <a:buNone/>
              <a:defRPr sz="1598" b="1"/>
            </a:lvl7pPr>
            <a:lvl8pPr marL="3195907" indent="0">
              <a:buNone/>
              <a:defRPr sz="1598" b="1"/>
            </a:lvl8pPr>
            <a:lvl9pPr marL="3652465" indent="0">
              <a:buNone/>
              <a:defRPr sz="159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4726079" y="2115185"/>
            <a:ext cx="3199417" cy="4046538"/>
          </a:xfrm>
        </p:spPr>
        <p:txBody>
          <a:bodyPr/>
          <a:lstStyle>
            <a:lvl1pPr marL="0" indent="0">
              <a:lnSpc>
                <a:spcPct val="103000"/>
              </a:lnSpc>
              <a:spcBef>
                <a:spcPts val="4194"/>
              </a:spcBef>
              <a:spcAft>
                <a:spcPts val="299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lnSpc>
                <a:spcPct val="103000"/>
              </a:lnSpc>
              <a:buFont typeface="Arial" panose="020B0604020202020204" pitchFamily="34" charset="0"/>
              <a:buNone/>
              <a:defRPr sz="1199"/>
            </a:lvl2pPr>
            <a:lvl3pPr marL="180721" indent="-180721">
              <a:lnSpc>
                <a:spcPct val="103000"/>
              </a:lnSpc>
              <a:buFontTx/>
              <a:buBlip>
                <a:blip r:embed="rId2"/>
              </a:buBlip>
              <a:defRPr sz="1199"/>
            </a:lvl3pPr>
            <a:lvl4pPr marL="356686" indent="-171209">
              <a:lnSpc>
                <a:spcPct val="103000"/>
              </a:lnSpc>
              <a:buFontTx/>
              <a:buBlip>
                <a:blip r:embed="rId3"/>
              </a:buBlip>
              <a:defRPr sz="1199"/>
            </a:lvl4pPr>
            <a:lvl5pPr marL="537407" indent="-180721">
              <a:lnSpc>
                <a:spcPct val="103000"/>
              </a:lnSpc>
              <a:defRPr sz="1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Content Placeholder 2"/>
          <p:cNvSpPr>
            <a:spLocks noGrp="1"/>
          </p:cNvSpPr>
          <p:nvPr>
            <p:ph sz="half" idx="15"/>
          </p:nvPr>
        </p:nvSpPr>
        <p:spPr>
          <a:xfrm>
            <a:off x="8321758" y="2115185"/>
            <a:ext cx="3199417" cy="4046538"/>
          </a:xfrm>
        </p:spPr>
        <p:txBody>
          <a:bodyPr/>
          <a:lstStyle>
            <a:lvl1pPr marL="0" indent="0">
              <a:lnSpc>
                <a:spcPct val="103000"/>
              </a:lnSpc>
              <a:spcBef>
                <a:spcPts val="4194"/>
              </a:spcBef>
              <a:spcAft>
                <a:spcPts val="299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lnSpc>
                <a:spcPct val="103000"/>
              </a:lnSpc>
              <a:buFont typeface="Arial" panose="020B0604020202020204" pitchFamily="34" charset="0"/>
              <a:buNone/>
              <a:defRPr sz="1199"/>
            </a:lvl2pPr>
            <a:lvl3pPr marL="180721" indent="-180721">
              <a:lnSpc>
                <a:spcPct val="103000"/>
              </a:lnSpc>
              <a:buFontTx/>
              <a:buBlip>
                <a:blip r:embed="rId2"/>
              </a:buBlip>
              <a:defRPr sz="1199"/>
            </a:lvl3pPr>
            <a:lvl4pPr marL="356686" indent="-171209">
              <a:lnSpc>
                <a:spcPct val="103000"/>
              </a:lnSpc>
              <a:buFontTx/>
              <a:buBlip>
                <a:blip r:embed="rId3"/>
              </a:buBlip>
              <a:defRPr sz="1199"/>
            </a:lvl4pPr>
            <a:lvl5pPr marL="537407" indent="-180721">
              <a:lnSpc>
                <a:spcPct val="103000"/>
              </a:lnSpc>
              <a:defRPr sz="1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 sz="997"/>
            </a:lvl1pPr>
          </a:lstStyle>
          <a:p>
            <a:endParaRPr lang="en-GB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 sz="997">
                <a:solidFill>
                  <a:schemeClr val="accent2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052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9417" y="1643063"/>
            <a:ext cx="5004000" cy="449262"/>
          </a:xfrm>
        </p:spPr>
        <p:txBody>
          <a:bodyPr anchor="b"/>
          <a:lstStyle>
            <a:lvl1pPr marL="0" indent="0">
              <a:buNone/>
              <a:defRPr sz="1798" b="0">
                <a:solidFill>
                  <a:srgbClr val="004422"/>
                </a:solidFill>
              </a:defRPr>
            </a:lvl1pPr>
            <a:lvl2pPr marL="456558" indent="0">
              <a:buNone/>
              <a:defRPr sz="1997" b="1"/>
            </a:lvl2pPr>
            <a:lvl3pPr marL="913116" indent="0">
              <a:buNone/>
              <a:defRPr sz="1798" b="1"/>
            </a:lvl3pPr>
            <a:lvl4pPr marL="1369674" indent="0">
              <a:buNone/>
              <a:defRPr sz="1598" b="1"/>
            </a:lvl4pPr>
            <a:lvl5pPr marL="1826232" indent="0">
              <a:buNone/>
              <a:defRPr sz="1598" b="1"/>
            </a:lvl5pPr>
            <a:lvl6pPr marL="2282790" indent="0">
              <a:buNone/>
              <a:defRPr sz="1598" b="1"/>
            </a:lvl6pPr>
            <a:lvl7pPr marL="2739348" indent="0">
              <a:buNone/>
              <a:defRPr sz="1598" b="1"/>
            </a:lvl7pPr>
            <a:lvl8pPr marL="3195907" indent="0">
              <a:buNone/>
              <a:defRPr sz="1598" b="1"/>
            </a:lvl8pPr>
            <a:lvl9pPr marL="3652465" indent="0">
              <a:buNone/>
              <a:defRPr sz="159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9417" y="2130425"/>
            <a:ext cx="5004000" cy="40592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7800" y="1643063"/>
            <a:ext cx="5004000" cy="449262"/>
          </a:xfrm>
        </p:spPr>
        <p:txBody>
          <a:bodyPr anchor="b"/>
          <a:lstStyle>
            <a:lvl1pPr marL="0" indent="0">
              <a:buNone/>
              <a:defRPr sz="1798" b="0">
                <a:solidFill>
                  <a:srgbClr val="004422"/>
                </a:solidFill>
              </a:defRPr>
            </a:lvl1pPr>
            <a:lvl2pPr marL="456558" indent="0">
              <a:buNone/>
              <a:defRPr sz="1997" b="1"/>
            </a:lvl2pPr>
            <a:lvl3pPr marL="913116" indent="0">
              <a:buNone/>
              <a:defRPr sz="1798" b="1"/>
            </a:lvl3pPr>
            <a:lvl4pPr marL="1369674" indent="0">
              <a:buNone/>
              <a:defRPr sz="1598" b="1"/>
            </a:lvl4pPr>
            <a:lvl5pPr marL="1826232" indent="0">
              <a:buNone/>
              <a:defRPr sz="1598" b="1"/>
            </a:lvl5pPr>
            <a:lvl6pPr marL="2282790" indent="0">
              <a:buNone/>
              <a:defRPr sz="1598" b="1"/>
            </a:lvl6pPr>
            <a:lvl7pPr marL="2739348" indent="0">
              <a:buNone/>
              <a:defRPr sz="1598" b="1"/>
            </a:lvl7pPr>
            <a:lvl8pPr marL="3195907" indent="0">
              <a:buNone/>
              <a:defRPr sz="1598" b="1"/>
            </a:lvl8pPr>
            <a:lvl9pPr marL="3652465" indent="0">
              <a:buNone/>
              <a:defRPr sz="159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7800" y="2130425"/>
            <a:ext cx="5004000" cy="4059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B91685-936B-4D2C-9328-CBA44F583DEF}" type="datetime1">
              <a:rPr lang="en-US" smtClean="0"/>
              <a:t>10/18/2018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 sz="997"/>
            </a:lvl1pPr>
          </a:lstStyle>
          <a:p>
            <a:endParaRPr lang="en-GB" dirty="0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 sz="997">
                <a:solidFill>
                  <a:schemeClr val="accent2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18155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910E7A-D8B7-413E-9A99-32C21B70707D}" type="datetime1">
              <a:rPr lang="en-US" smtClean="0"/>
              <a:t>10/18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 sz="997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 sz="997">
                <a:solidFill>
                  <a:schemeClr val="accent2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93953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B8851-A2F0-4E70-A1F3-A0F1FAD4AAF1}" type="datetime1">
              <a:rPr lang="en-US" smtClean="0"/>
              <a:t>10/18/2018</a:t>
            </a:fld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1126800" y="1350001"/>
            <a:ext cx="10403772" cy="823912"/>
          </a:xfrm>
        </p:spPr>
        <p:txBody>
          <a:bodyPr anchor="t" anchorCtr="0"/>
          <a:lstStyle>
            <a:lvl1pPr marL="0" indent="0">
              <a:buNone/>
              <a:defRPr sz="1994" b="0">
                <a:solidFill>
                  <a:schemeClr val="accent3"/>
                </a:solidFill>
              </a:defRPr>
            </a:lvl1pPr>
            <a:lvl2pPr marL="456558" indent="0">
              <a:buNone/>
              <a:defRPr sz="1997" b="1"/>
            </a:lvl2pPr>
            <a:lvl3pPr marL="913116" indent="0">
              <a:buNone/>
              <a:defRPr sz="1798" b="1"/>
            </a:lvl3pPr>
            <a:lvl4pPr marL="1369674" indent="0">
              <a:buNone/>
              <a:defRPr sz="1598" b="1"/>
            </a:lvl4pPr>
            <a:lvl5pPr marL="1826232" indent="0">
              <a:buNone/>
              <a:defRPr sz="1598" b="1"/>
            </a:lvl5pPr>
            <a:lvl6pPr marL="2282790" indent="0">
              <a:buNone/>
              <a:defRPr sz="1598" b="1"/>
            </a:lvl6pPr>
            <a:lvl7pPr marL="2739348" indent="0">
              <a:buNone/>
              <a:defRPr sz="1598" b="1"/>
            </a:lvl7pPr>
            <a:lvl8pPr marL="3195907" indent="0">
              <a:buNone/>
              <a:defRPr sz="1598" b="1"/>
            </a:lvl8pPr>
            <a:lvl9pPr marL="3652465" indent="0">
              <a:buNone/>
              <a:defRPr sz="159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 sz="997"/>
            </a:lvl1pPr>
          </a:lstStyle>
          <a:p>
            <a:endParaRPr lang="en-GB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 sz="997">
                <a:solidFill>
                  <a:schemeClr val="accent2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7383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F5011-3B13-42FC-8E48-1EEE099AF2D9}" type="datetime1">
              <a:rPr lang="en-US" smtClean="0"/>
              <a:t>10/18/2018</a:t>
            </a:fld>
            <a:endParaRPr lang="en-GB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9416" y="6486585"/>
            <a:ext cx="4556168" cy="239652"/>
          </a:xfrm>
          <a:prstGeom prst="rect">
            <a:avLst/>
          </a:prstGeom>
        </p:spPr>
        <p:txBody>
          <a:bodyPr/>
          <a:lstStyle>
            <a:lvl1pPr>
              <a:defRPr sz="997"/>
            </a:lvl1pPr>
          </a:lstStyle>
          <a:p>
            <a:endParaRPr lang="en-GB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09164" y="6486585"/>
            <a:ext cx="450112" cy="239652"/>
          </a:xfrm>
          <a:prstGeom prst="rect">
            <a:avLst/>
          </a:prstGeom>
        </p:spPr>
        <p:txBody>
          <a:bodyPr/>
          <a:lstStyle>
            <a:lvl1pPr>
              <a:defRPr sz="997">
                <a:solidFill>
                  <a:schemeClr val="accent2"/>
                </a:solidFill>
              </a:defRPr>
            </a:lvl1pPr>
          </a:lstStyle>
          <a:p>
            <a:fld id="{E5C6CA6A-7D0E-46CC-B24A-74F4C485F4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2969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FE20EE-FA32-4D16-B404-53B74FB67A5F}" type="datetime1">
              <a:rPr lang="en-US" noProof="0" smtClean="0"/>
              <a:t>10/18/2018</a:t>
            </a:fld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lIns="91623" tIns="45811" rIns="91623" bIns="45811"/>
          <a:lstStyle/>
          <a:p>
            <a:fld id="{EEAD9179-7A6B-4268-BEB2-F3B8EB06115B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09" y="1732751"/>
            <a:ext cx="10801406" cy="4752000"/>
          </a:xfrm>
        </p:spPr>
        <p:txBody>
          <a:bodyPr lIns="72144" rIns="72144"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16783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24417" y="346076"/>
            <a:ext cx="9410699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Headli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161838" y="6424613"/>
            <a:ext cx="8001541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798"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81541" y="6424613"/>
            <a:ext cx="642410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8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501214"/>
      </p:ext>
    </p:extLst>
  </p:cSld>
  <p:clrMapOvr>
    <a:masterClrMapping/>
  </p:clrMapOvr>
  <p:transition>
    <p:wip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50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50" y="181938"/>
            <a:ext cx="10799866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88301D7-C71E-475E-A859-36DB1B9FD43F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5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30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EBFEB-6F63-41BB-BC95-D5EA56DFC5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A10BC1-DA3D-455A-8581-CC3D7AE41C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87311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534BA9D-23E3-4A14-9642-85C984800DCB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26" y="617323"/>
            <a:ext cx="395299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26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1501912-9051-4359-A05E-4A2CAA24109D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26" y="617323"/>
            <a:ext cx="395299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851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ABDCB9-20E4-43EB-99F1-9336EEC042D6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26" y="617323"/>
            <a:ext cx="395299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8684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60ADBB9-DC3E-412F-83F7-C3F56C9CB09D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09" y="1732751"/>
            <a:ext cx="10801406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971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4787664-7AC0-4993-B0F9-8DBF215F35DA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230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7.wmf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image" Target="../media/image11.emf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10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7" Type="http://schemas.openxmlformats.org/officeDocument/2006/relationships/image" Target="../media/image19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" name="think-cell Folie" r:id="rId32" imgW="270" imgH="270" progId="TCLayout.ActiveDocument.1">
                  <p:embed/>
                </p:oleObj>
              </mc:Choice>
              <mc:Fallback>
                <p:oleObj name="think-cell Folie" r:id="rId32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01940A8-4969-475F-9DFE-B09C4882EF05}" type="datetime1">
              <a:rPr lang="en-US" smtClean="0"/>
              <a:t>10/1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980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700" r:id="rId25"/>
    <p:sldLayoutId id="2147483701" r:id="rId26"/>
    <p:sldLayoutId id="2147483703" r:id="rId27"/>
    <p:sldLayoutId id="2147484866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pos="3908">
          <p15:clr>
            <a:srgbClr val="F26B43"/>
          </p15:clr>
        </p15:guide>
        <p15:guide id="3" pos="4134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2150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4086">
          <p15:clr>
            <a:srgbClr val="F26B43"/>
          </p15:clr>
        </p15:guide>
        <p15:guide id="13" pos="5894">
          <p15:clr>
            <a:srgbClr val="F26B43"/>
          </p15:clr>
        </p15:guide>
        <p15:guide id="14" pos="5666">
          <p15:clr>
            <a:srgbClr val="F26B43"/>
          </p15:clr>
        </p15:guide>
        <p15:guide id="15" pos="4020">
          <p15:clr>
            <a:srgbClr val="F26B43"/>
          </p15:clr>
        </p15:guide>
        <p15:guide id="16" orient="horz" pos="27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27125" y="196539"/>
            <a:ext cx="10406063" cy="10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7125" y="1895254"/>
            <a:ext cx="10373645" cy="4281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48822" y="6486585"/>
            <a:ext cx="2743200" cy="2396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5312D3-9779-4300-88FE-462399934CEB}" type="datetime1">
              <a:rPr lang="en-US" smtClean="0"/>
              <a:t>10/18/2018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164" y="804863"/>
            <a:ext cx="450112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116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  <p:sldLayoutId id="2147483932" r:id="rId19"/>
  </p:sldLayoutIdLst>
  <p:hf hdr="0" ftr="0" dt="0"/>
  <p:txStyles>
    <p:titleStyle>
      <a:lvl1pPr algn="l" defTabSz="913116" rtl="0" eaLnBrk="1" latinLnBrk="0" hangingPunct="1">
        <a:lnSpc>
          <a:spcPct val="84000"/>
        </a:lnSpc>
        <a:spcBef>
          <a:spcPct val="0"/>
        </a:spcBef>
        <a:buNone/>
        <a:defRPr sz="3495" b="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67537" indent="-267537" algn="l" defTabSz="913116" rtl="0" eaLnBrk="1" latinLnBrk="0" hangingPunct="1">
        <a:lnSpc>
          <a:spcPct val="90000"/>
        </a:lnSpc>
        <a:spcBef>
          <a:spcPts val="1197"/>
        </a:spcBef>
        <a:buClr>
          <a:schemeClr val="accent6"/>
        </a:buClr>
        <a:buFontTx/>
        <a:buBlip>
          <a:blip r:embed="rId22"/>
        </a:buBlip>
        <a:defRPr sz="1795" kern="1200">
          <a:solidFill>
            <a:schemeClr val="tx2"/>
          </a:solidFill>
          <a:latin typeface="+mn-lt"/>
          <a:ea typeface="+mn-ea"/>
          <a:cs typeface="+mn-cs"/>
        </a:defRPr>
      </a:lvl1pPr>
      <a:lvl2pPr marL="536656" indent="-265953" algn="l" defTabSz="913116" rtl="0" eaLnBrk="1" latinLnBrk="0" hangingPunct="1">
        <a:lnSpc>
          <a:spcPct val="90000"/>
        </a:lnSpc>
        <a:spcBef>
          <a:spcPts val="1197"/>
        </a:spcBef>
        <a:buFontTx/>
        <a:buBlip>
          <a:blip r:embed="rId23"/>
        </a:buBlip>
        <a:defRPr sz="1795" kern="1200">
          <a:solidFill>
            <a:schemeClr val="tx2"/>
          </a:solidFill>
          <a:latin typeface="+mn-lt"/>
          <a:ea typeface="+mn-ea"/>
          <a:cs typeface="+mn-cs"/>
        </a:defRPr>
      </a:lvl2pPr>
      <a:lvl3pPr marL="718707" indent="-182052" algn="l" defTabSz="91311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2"/>
          </a:solidFill>
          <a:latin typeface="+mn-lt"/>
          <a:ea typeface="+mn-ea"/>
          <a:cs typeface="+mn-cs"/>
        </a:defRPr>
      </a:lvl3pPr>
      <a:lvl4pPr marL="889677" indent="-170970" algn="l" defTabSz="91311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2"/>
          </a:solidFill>
          <a:latin typeface="+mn-lt"/>
          <a:ea typeface="+mn-ea"/>
          <a:cs typeface="+mn-cs"/>
        </a:defRPr>
      </a:lvl4pPr>
      <a:lvl5pPr marL="1073311" indent="-183634" algn="l" defTabSz="91311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2"/>
          </a:solidFill>
          <a:latin typeface="+mn-lt"/>
          <a:ea typeface="+mn-ea"/>
          <a:cs typeface="+mn-cs"/>
        </a:defRPr>
      </a:lvl5pPr>
      <a:lvl6pPr marL="2511069" indent="-228279" algn="l" defTabSz="91311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67628" indent="-228279" algn="l" defTabSz="91311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4186" indent="-228279" algn="l" defTabSz="91311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0744" indent="-228279" algn="l" defTabSz="91311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11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558" algn="l" defTabSz="91311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116" algn="l" defTabSz="91311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69674" algn="l" defTabSz="91311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232" algn="l" defTabSz="91311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2790" algn="l" defTabSz="91311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39348" algn="l" defTabSz="91311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5907" algn="l" defTabSz="91311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2465" algn="l" defTabSz="91311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85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504">
          <p15:clr>
            <a:srgbClr val="F26B43"/>
          </p15:clr>
        </p15:guide>
        <p15:guide id="4" orient="horz" pos="1342">
          <p15:clr>
            <a:srgbClr val="F26B43"/>
          </p15:clr>
        </p15:guide>
        <p15:guide id="5" pos="415">
          <p15:clr>
            <a:srgbClr val="F26B43"/>
          </p15:clr>
        </p15:guide>
        <p15:guide id="6" pos="7265">
          <p15:clr>
            <a:srgbClr val="F26B43"/>
          </p15:clr>
        </p15:guide>
        <p15:guide id="7" pos="272">
          <p15:clr>
            <a:srgbClr val="F26B43"/>
          </p15:clr>
        </p15:guide>
        <p15:guide id="8" pos="3999">
          <p15:clr>
            <a:srgbClr val="F26B43"/>
          </p15:clr>
        </p15:guide>
        <p15:guide id="9" pos="4112">
          <p15:clr>
            <a:srgbClr val="F26B43"/>
          </p15:clr>
        </p15:guide>
        <p15:guide id="10" pos="132">
          <p15:clr>
            <a:srgbClr val="F26B43"/>
          </p15:clr>
        </p15:guide>
        <p15:guide id="11" pos="710">
          <p15:clr>
            <a:srgbClr val="F26B43"/>
          </p15:clr>
        </p15:guide>
        <p15:guide id="12" orient="horz" pos="786">
          <p15:clr>
            <a:srgbClr val="F26B43"/>
          </p15:clr>
        </p15:guide>
        <p15:guide id="13" pos="2734">
          <p15:clr>
            <a:srgbClr val="F26B43"/>
          </p15:clr>
        </p15:guide>
        <p15:guide id="14" pos="2961">
          <p15:clr>
            <a:srgbClr val="F26B43"/>
          </p15:clr>
        </p15:guide>
        <p15:guide id="15" pos="5002">
          <p15:clr>
            <a:srgbClr val="F26B43"/>
          </p15:clr>
        </p15:guide>
        <p15:guide id="16" pos="522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74983843"/>
              </p:ext>
            </p:extLst>
          </p:nvPr>
        </p:nvGraphicFramePr>
        <p:xfrm>
          <a:off x="2117" y="1584"/>
          <a:ext cx="2116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4"/>
                        <a:ext cx="2116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U:\Bayer_CropScience\Wilkins\Advancing_Together_Template\Vorstück\Advancing together_lock up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77836" y="6225551"/>
            <a:ext cx="1618970" cy="436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59714" y="1622428"/>
            <a:ext cx="11240068" cy="45331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cxnSp>
        <p:nvCxnSpPr>
          <p:cNvPr id="37" name="Gerader Verbinder 13"/>
          <p:cNvCxnSpPr/>
          <p:nvPr/>
        </p:nvCxnSpPr>
        <p:spPr bwMode="gray">
          <a:xfrm>
            <a:off x="0" y="6416923"/>
            <a:ext cx="10078250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10"/>
          <p:cNvCxnSpPr/>
          <p:nvPr/>
        </p:nvCxnSpPr>
        <p:spPr bwMode="gray">
          <a:xfrm>
            <a:off x="0" y="1462126"/>
            <a:ext cx="12192000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platzhalter 1"/>
          <p:cNvSpPr>
            <a:spLocks noGrp="1"/>
          </p:cNvSpPr>
          <p:nvPr>
            <p:ph type="title"/>
          </p:nvPr>
        </p:nvSpPr>
        <p:spPr bwMode="gray">
          <a:xfrm>
            <a:off x="459715" y="1"/>
            <a:ext cx="9982266" cy="9783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20" name="Fußzeilenplatzhalter 4"/>
          <p:cNvSpPr txBox="1">
            <a:spLocks/>
          </p:cNvSpPr>
          <p:nvPr/>
        </p:nvSpPr>
        <p:spPr bwMode="gray">
          <a:xfrm>
            <a:off x="459714" y="6406817"/>
            <a:ext cx="665507" cy="43218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8">
                <a:solidFill>
                  <a:srgbClr val="4D4D4D"/>
                </a:solidFill>
              </a:rPr>
              <a:t>Page </a:t>
            </a:r>
            <a:fld id="{87F334AE-4EAC-4C2D-A638-92A76F09FCC4}" type="slidenum">
              <a:rPr lang="en-US" sz="798" smtClean="0">
                <a:solidFill>
                  <a:srgbClr val="4D4D4D"/>
                </a:solidFill>
              </a:rPr>
              <a:pPr/>
              <a:t>‹#›</a:t>
            </a:fld>
            <a:r>
              <a:rPr lang="en-US" sz="798">
                <a:solidFill>
                  <a:srgbClr val="4D4D4D"/>
                </a:solidFill>
              </a:rPr>
              <a:t>  •</a:t>
            </a:r>
          </a:p>
        </p:txBody>
      </p:sp>
    </p:spTree>
    <p:extLst>
      <p:ext uri="{BB962C8B-B14F-4D97-AF65-F5344CB8AC3E}">
        <p14:creationId xmlns:p14="http://schemas.microsoft.com/office/powerpoint/2010/main" val="373930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7" r:id="rId1"/>
  </p:sldLayoutIdLst>
  <p:hf hdr="0" ftr="0" dt="0"/>
  <p:txStyles>
    <p:titleStyle>
      <a:lvl1pPr algn="l" defTabSz="1218036" rtl="0" eaLnBrk="1" latinLnBrk="0" hangingPunct="1">
        <a:lnSpc>
          <a:spcPct val="90000"/>
        </a:lnSpc>
        <a:spcBef>
          <a:spcPct val="0"/>
        </a:spcBef>
        <a:buNone/>
        <a:defRPr sz="2194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0" indent="0" algn="l" defTabSz="1218036" rtl="0" eaLnBrk="1" latinLnBrk="0" hangingPunct="1">
        <a:spcBef>
          <a:spcPts val="299"/>
        </a:spcBef>
        <a:spcAft>
          <a:spcPts val="598"/>
        </a:spcAft>
        <a:buClr>
          <a:schemeClr val="accent2"/>
        </a:buClr>
        <a:buSzPct val="110000"/>
        <a:buFont typeface="Arial" pitchFamily="34" charset="0"/>
        <a:buNone/>
        <a:defRPr sz="1795" kern="1200" baseline="0">
          <a:solidFill>
            <a:srgbClr val="4D4D4D"/>
          </a:solidFill>
          <a:latin typeface="+mn-lt"/>
          <a:ea typeface="+mn-ea"/>
          <a:cs typeface="+mn-cs"/>
        </a:defRPr>
      </a:lvl1pPr>
      <a:lvl2pPr marL="269119" indent="-269119" algn="l" defTabSz="1218036" rtl="0" eaLnBrk="1" latinLnBrk="0" hangingPunct="1">
        <a:spcBef>
          <a:spcPts val="299"/>
        </a:spcBef>
        <a:spcAft>
          <a:spcPts val="598"/>
        </a:spcAft>
        <a:buClr>
          <a:schemeClr val="accent3"/>
        </a:buClr>
        <a:buSzPct val="85000"/>
        <a:buFont typeface="Wingdings" panose="05000000000000000000" pitchFamily="2" charset="2"/>
        <a:buChar char="n"/>
        <a:defRPr sz="1795" kern="1200">
          <a:solidFill>
            <a:srgbClr val="4D4D4D"/>
          </a:solidFill>
          <a:latin typeface="+mn-lt"/>
          <a:ea typeface="+mn-ea"/>
          <a:cs typeface="+mn-cs"/>
        </a:defRPr>
      </a:lvl2pPr>
      <a:lvl3pPr marL="538239" indent="-269119" algn="l" defTabSz="1218036" rtl="0" eaLnBrk="1" latinLnBrk="0" hangingPunct="1">
        <a:spcBef>
          <a:spcPts val="299"/>
        </a:spcBef>
        <a:spcAft>
          <a:spcPts val="598"/>
        </a:spcAft>
        <a:buClr>
          <a:srgbClr val="6BC200"/>
        </a:buClr>
        <a:buSzPct val="110000"/>
        <a:buFont typeface="Arial" pitchFamily="34" charset="0"/>
        <a:buChar char="•"/>
        <a:defRPr sz="1795" kern="1200">
          <a:solidFill>
            <a:srgbClr val="4D4D4D"/>
          </a:solidFill>
          <a:latin typeface="+mn-lt"/>
          <a:ea typeface="+mn-ea"/>
          <a:cs typeface="+mn-cs"/>
        </a:defRPr>
      </a:lvl3pPr>
      <a:lvl4pPr marL="807358" indent="-269119" algn="l" defTabSz="1218036" rtl="0" eaLnBrk="1" latinLnBrk="0" hangingPunct="1">
        <a:spcBef>
          <a:spcPts val="299"/>
        </a:spcBef>
        <a:spcAft>
          <a:spcPts val="598"/>
        </a:spcAft>
        <a:buClr>
          <a:schemeClr val="accent5"/>
        </a:buClr>
        <a:buSzPct val="110000"/>
        <a:buFont typeface="Arial" pitchFamily="34" charset="0"/>
        <a:buChar char="•"/>
        <a:defRPr sz="1795" kern="1200">
          <a:solidFill>
            <a:srgbClr val="4D4D4D"/>
          </a:solidFill>
          <a:latin typeface="+mn-lt"/>
          <a:ea typeface="+mn-ea"/>
          <a:cs typeface="+mn-cs"/>
        </a:defRPr>
      </a:lvl4pPr>
      <a:lvl5pPr marL="1076477" indent="-269119" algn="l" defTabSz="1218036" rtl="0" eaLnBrk="1" latinLnBrk="0" hangingPunct="1">
        <a:spcBef>
          <a:spcPts val="299"/>
        </a:spcBef>
        <a:spcAft>
          <a:spcPts val="598"/>
        </a:spcAft>
        <a:buClr>
          <a:schemeClr val="accent6"/>
        </a:buClr>
        <a:buSzPct val="110000"/>
        <a:buFont typeface="Arial" pitchFamily="34" charset="0"/>
        <a:buChar char="•"/>
        <a:defRPr sz="1795" kern="1200">
          <a:solidFill>
            <a:srgbClr val="4D4D4D"/>
          </a:solidFill>
          <a:latin typeface="+mn-lt"/>
          <a:ea typeface="+mn-ea"/>
          <a:cs typeface="+mn-cs"/>
        </a:defRPr>
      </a:lvl5pPr>
      <a:lvl6pPr marL="1076976" indent="-269244" algn="l" defTabSz="1218036" rtl="0" eaLnBrk="1" latinLnBrk="0" hangingPunct="1">
        <a:spcBef>
          <a:spcPts val="299"/>
        </a:spcBef>
        <a:spcAft>
          <a:spcPts val="598"/>
        </a:spcAft>
        <a:buClr>
          <a:schemeClr val="accent6"/>
        </a:buClr>
        <a:buSzPct val="110000"/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1076976" indent="-269244" algn="l" defTabSz="1218036" rtl="0" eaLnBrk="1" latinLnBrk="0" hangingPunct="1">
        <a:spcBef>
          <a:spcPts val="299"/>
        </a:spcBef>
        <a:spcAft>
          <a:spcPts val="598"/>
        </a:spcAft>
        <a:buClr>
          <a:schemeClr val="accent6"/>
        </a:buClr>
        <a:buSzPct val="110000"/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1076976" indent="-269244" algn="l" defTabSz="1218036" rtl="0" eaLnBrk="1" latinLnBrk="0" hangingPunct="1">
        <a:spcBef>
          <a:spcPts val="299"/>
        </a:spcBef>
        <a:spcAft>
          <a:spcPts val="598"/>
        </a:spcAft>
        <a:buClr>
          <a:schemeClr val="accent6"/>
        </a:buClr>
        <a:buSzPct val="110000"/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1076976" indent="-269244" algn="l" defTabSz="1218036" rtl="0" eaLnBrk="1" latinLnBrk="0" hangingPunct="1">
        <a:spcBef>
          <a:spcPts val="299"/>
        </a:spcBef>
        <a:spcAft>
          <a:spcPts val="598"/>
        </a:spcAft>
        <a:buClr>
          <a:schemeClr val="accent6"/>
        </a:buClr>
        <a:buSzPct val="110000"/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036" rtl="0" eaLnBrk="1" latinLnBrk="0" hangingPunct="1">
        <a:defRPr sz="2393" kern="1200">
          <a:solidFill>
            <a:schemeClr val="tx1"/>
          </a:solidFill>
          <a:latin typeface="+mn-lt"/>
          <a:ea typeface="+mn-ea"/>
          <a:cs typeface="+mn-cs"/>
        </a:defRPr>
      </a:lvl1pPr>
      <a:lvl2pPr marL="609018" algn="l" defTabSz="1218036" rtl="0" eaLnBrk="1" latinLnBrk="0" hangingPunct="1">
        <a:defRPr sz="2393" kern="1200">
          <a:solidFill>
            <a:schemeClr val="tx1"/>
          </a:solidFill>
          <a:latin typeface="+mn-lt"/>
          <a:ea typeface="+mn-ea"/>
          <a:cs typeface="+mn-cs"/>
        </a:defRPr>
      </a:lvl2pPr>
      <a:lvl3pPr marL="1218036" algn="l" defTabSz="1218036" rtl="0" eaLnBrk="1" latinLnBrk="0" hangingPunct="1">
        <a:defRPr sz="2393" kern="1200">
          <a:solidFill>
            <a:schemeClr val="tx1"/>
          </a:solidFill>
          <a:latin typeface="+mn-lt"/>
          <a:ea typeface="+mn-ea"/>
          <a:cs typeface="+mn-cs"/>
        </a:defRPr>
      </a:lvl3pPr>
      <a:lvl4pPr marL="1827053" algn="l" defTabSz="1218036" rtl="0" eaLnBrk="1" latinLnBrk="0" hangingPunct="1">
        <a:defRPr sz="2393" kern="1200">
          <a:solidFill>
            <a:schemeClr val="tx1"/>
          </a:solidFill>
          <a:latin typeface="+mn-lt"/>
          <a:ea typeface="+mn-ea"/>
          <a:cs typeface="+mn-cs"/>
        </a:defRPr>
      </a:lvl4pPr>
      <a:lvl5pPr marL="2436071" algn="l" defTabSz="1218036" rtl="0" eaLnBrk="1" latinLnBrk="0" hangingPunct="1">
        <a:defRPr sz="2393" kern="1200">
          <a:solidFill>
            <a:schemeClr val="tx1"/>
          </a:solidFill>
          <a:latin typeface="+mn-lt"/>
          <a:ea typeface="+mn-ea"/>
          <a:cs typeface="+mn-cs"/>
        </a:defRPr>
      </a:lvl5pPr>
      <a:lvl6pPr marL="3045089" algn="l" defTabSz="1218036" rtl="0" eaLnBrk="1" latinLnBrk="0" hangingPunct="1">
        <a:defRPr sz="2393" kern="1200">
          <a:solidFill>
            <a:schemeClr val="tx1"/>
          </a:solidFill>
          <a:latin typeface="+mn-lt"/>
          <a:ea typeface="+mn-ea"/>
          <a:cs typeface="+mn-cs"/>
        </a:defRPr>
      </a:lvl6pPr>
      <a:lvl7pPr marL="3654107" algn="l" defTabSz="1218036" rtl="0" eaLnBrk="1" latinLnBrk="0" hangingPunct="1">
        <a:defRPr sz="2393" kern="1200">
          <a:solidFill>
            <a:schemeClr val="tx1"/>
          </a:solidFill>
          <a:latin typeface="+mn-lt"/>
          <a:ea typeface="+mn-ea"/>
          <a:cs typeface="+mn-cs"/>
        </a:defRPr>
      </a:lvl7pPr>
      <a:lvl8pPr marL="4263124" algn="l" defTabSz="1218036" rtl="0" eaLnBrk="1" latinLnBrk="0" hangingPunct="1">
        <a:defRPr sz="2393" kern="1200">
          <a:solidFill>
            <a:schemeClr val="tx1"/>
          </a:solidFill>
          <a:latin typeface="+mn-lt"/>
          <a:ea typeface="+mn-ea"/>
          <a:cs typeface="+mn-cs"/>
        </a:defRPr>
      </a:lvl8pPr>
      <a:lvl9pPr marL="4872142" algn="l" defTabSz="1218036" rtl="0" eaLnBrk="1" latinLnBrk="0" hangingPunct="1">
        <a:defRPr sz="23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3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jpeg"/><Relationship Id="rId18" Type="http://schemas.openxmlformats.org/officeDocument/2006/relationships/image" Target="../media/image36.png"/><Relationship Id="rId3" Type="http://schemas.openxmlformats.org/officeDocument/2006/relationships/image" Target="../media/image21.jpeg"/><Relationship Id="rId21" Type="http://schemas.openxmlformats.org/officeDocument/2006/relationships/image" Target="../media/image39.png"/><Relationship Id="rId7" Type="http://schemas.openxmlformats.org/officeDocument/2006/relationships/image" Target="../media/image25.jpeg"/><Relationship Id="rId12" Type="http://schemas.openxmlformats.org/officeDocument/2006/relationships/image" Target="../media/image30.jpe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jpeg"/><Relationship Id="rId19" Type="http://schemas.openxmlformats.org/officeDocument/2006/relationships/image" Target="../media/image37.png"/><Relationship Id="rId4" Type="http://schemas.openxmlformats.org/officeDocument/2006/relationships/image" Target="../media/image22.png"/><Relationship Id="rId9" Type="http://schemas.openxmlformats.org/officeDocument/2006/relationships/image" Target="../media/image27.jpeg"/><Relationship Id="rId14" Type="http://schemas.openxmlformats.org/officeDocument/2006/relationships/image" Target="../media/image32.jpeg"/><Relationship Id="rId22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1.jpe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49.jpg"/><Relationship Id="rId12" Type="http://schemas.openxmlformats.org/officeDocument/2006/relationships/image" Target="../media/image54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jpe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image" Target="../media/image59.sv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2.png"/><Relationship Id="rId5" Type="http://schemas.openxmlformats.org/officeDocument/2006/relationships/image" Target="../media/image61.svg"/><Relationship Id="rId10" Type="http://schemas.openxmlformats.org/officeDocument/2006/relationships/image" Target="../media/image66.sv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83551" y="2372713"/>
            <a:ext cx="6473938" cy="1620000"/>
          </a:xfrm>
        </p:spPr>
        <p:txBody>
          <a:bodyPr/>
          <a:lstStyle/>
          <a:p>
            <a:r>
              <a:rPr lang="en-US" sz="3600" dirty="0"/>
              <a:t>Domino Use Case </a:t>
            </a:r>
            <a:br>
              <a:rPr lang="en-US" sz="3600" dirty="0"/>
            </a:br>
            <a:r>
              <a:rPr lang="en-US" sz="3600" dirty="0"/>
              <a:t>at Bayer Crop Scienc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92057" y="4765323"/>
            <a:ext cx="5867246" cy="1080000"/>
          </a:xfrm>
        </p:spPr>
        <p:txBody>
          <a:bodyPr/>
          <a:lstStyle/>
          <a:p>
            <a:r>
              <a:rPr lang="en-US" dirty="0"/>
              <a:t>Sami Cheong PhD.</a:t>
            </a:r>
          </a:p>
          <a:p>
            <a:r>
              <a:rPr lang="en-US" dirty="0"/>
              <a:t>     Data Scientist </a:t>
            </a:r>
          </a:p>
          <a:p>
            <a:r>
              <a:rPr lang="en-US" dirty="0"/>
              <a:t>     Global IT Analytics</a:t>
            </a:r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" r="13"/>
          <a:stretch/>
        </p:blipFill>
        <p:spPr/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9DF5E6-10EE-C947-8B58-6714A0E21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86740D2-9295-AB46-BBC6-55D71B4589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Bay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84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578513" y="6162321"/>
            <a:ext cx="612695" cy="365077"/>
          </a:xfrm>
        </p:spPr>
        <p:txBody>
          <a:bodyPr/>
          <a:lstStyle/>
          <a:p>
            <a:pPr defTabSz="914309">
              <a:defRPr/>
            </a:pPr>
            <a:fld id="{F84EAD10-2DEC-401A-B3D3-1C18B5B81114}" type="slidenum">
              <a:rPr lang="en-US" sz="105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defTabSz="914309">
                <a:defRPr/>
              </a:pPr>
              <a:t>2</a:t>
            </a:fld>
            <a:endParaRPr lang="en-US" sz="1050" dirty="0">
              <a:solidFill>
                <a:srgbClr val="FFFFFF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" y="-287533"/>
            <a:ext cx="12189790" cy="714176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19868" y="-302592"/>
            <a:ext cx="12210452" cy="7121896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ctr" defTabSz="914309">
              <a:defRPr/>
            </a:pPr>
            <a:endParaRPr lang="en-US" sz="1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Freeform 83"/>
          <p:cNvSpPr/>
          <p:nvPr/>
        </p:nvSpPr>
        <p:spPr>
          <a:xfrm>
            <a:off x="810162" y="358453"/>
            <a:ext cx="6031432" cy="6149977"/>
          </a:xfrm>
          <a:custGeom>
            <a:avLst/>
            <a:gdLst>
              <a:gd name="connsiteX0" fmla="*/ 3075389 w 6032217"/>
              <a:gd name="connsiteY0" fmla="*/ 0 h 6150778"/>
              <a:gd name="connsiteX1" fmla="*/ 3216053 w 6032217"/>
              <a:gd name="connsiteY1" fmla="*/ 3557 h 6150778"/>
              <a:gd name="connsiteX2" fmla="*/ 3012330 w 6032217"/>
              <a:gd name="connsiteY2" fmla="*/ 837378 h 6150778"/>
              <a:gd name="connsiteX3" fmla="*/ 2863418 w 6032217"/>
              <a:gd name="connsiteY3" fmla="*/ 844898 h 6150778"/>
              <a:gd name="connsiteX4" fmla="*/ 845353 w 6032217"/>
              <a:gd name="connsiteY4" fmla="*/ 3081192 h 6150778"/>
              <a:gd name="connsiteX5" fmla="*/ 3093253 w 6032217"/>
              <a:gd name="connsiteY5" fmla="*/ 5329091 h 6150778"/>
              <a:gd name="connsiteX6" fmla="*/ 5240092 w 6032217"/>
              <a:gd name="connsiteY6" fmla="*/ 3749648 h 6150778"/>
              <a:gd name="connsiteX7" fmla="*/ 5248094 w 6032217"/>
              <a:gd name="connsiteY7" fmla="*/ 3718523 h 6150778"/>
              <a:gd name="connsiteX8" fmla="*/ 6032217 w 6032217"/>
              <a:gd name="connsiteY8" fmla="*/ 3913292 h 6150778"/>
              <a:gd name="connsiteX9" fmla="*/ 6012515 w 6032217"/>
              <a:gd name="connsiteY9" fmla="*/ 3989916 h 6150778"/>
              <a:gd name="connsiteX10" fmla="*/ 3075389 w 6032217"/>
              <a:gd name="connsiteY10" fmla="*/ 6150778 h 6150778"/>
              <a:gd name="connsiteX11" fmla="*/ 0 w 6032217"/>
              <a:gd name="connsiteY11" fmla="*/ 3075389 h 6150778"/>
              <a:gd name="connsiteX12" fmla="*/ 3075389 w 6032217"/>
              <a:gd name="connsiteY12" fmla="*/ 0 h 6150778"/>
              <a:gd name="connsiteX0" fmla="*/ 3075389 w 6032217"/>
              <a:gd name="connsiteY0" fmla="*/ 0 h 6150778"/>
              <a:gd name="connsiteX1" fmla="*/ 3216053 w 6032217"/>
              <a:gd name="connsiteY1" fmla="*/ 3557 h 6150778"/>
              <a:gd name="connsiteX2" fmla="*/ 3068601 w 6032217"/>
              <a:gd name="connsiteY2" fmla="*/ 837378 h 6150778"/>
              <a:gd name="connsiteX3" fmla="*/ 2863418 w 6032217"/>
              <a:gd name="connsiteY3" fmla="*/ 844898 h 6150778"/>
              <a:gd name="connsiteX4" fmla="*/ 845353 w 6032217"/>
              <a:gd name="connsiteY4" fmla="*/ 3081192 h 6150778"/>
              <a:gd name="connsiteX5" fmla="*/ 3093253 w 6032217"/>
              <a:gd name="connsiteY5" fmla="*/ 5329091 h 6150778"/>
              <a:gd name="connsiteX6" fmla="*/ 5240092 w 6032217"/>
              <a:gd name="connsiteY6" fmla="*/ 3749648 h 6150778"/>
              <a:gd name="connsiteX7" fmla="*/ 5248094 w 6032217"/>
              <a:gd name="connsiteY7" fmla="*/ 3718523 h 6150778"/>
              <a:gd name="connsiteX8" fmla="*/ 6032217 w 6032217"/>
              <a:gd name="connsiteY8" fmla="*/ 3913292 h 6150778"/>
              <a:gd name="connsiteX9" fmla="*/ 6012515 w 6032217"/>
              <a:gd name="connsiteY9" fmla="*/ 3989916 h 6150778"/>
              <a:gd name="connsiteX10" fmla="*/ 3075389 w 6032217"/>
              <a:gd name="connsiteY10" fmla="*/ 6150778 h 6150778"/>
              <a:gd name="connsiteX11" fmla="*/ 0 w 6032217"/>
              <a:gd name="connsiteY11" fmla="*/ 3075389 h 6150778"/>
              <a:gd name="connsiteX12" fmla="*/ 3075389 w 6032217"/>
              <a:gd name="connsiteY12" fmla="*/ 0 h 6150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32217" h="6150778">
                <a:moveTo>
                  <a:pt x="3075389" y="0"/>
                </a:moveTo>
                <a:lnTo>
                  <a:pt x="3216053" y="3557"/>
                </a:lnTo>
                <a:lnTo>
                  <a:pt x="3068601" y="837378"/>
                </a:lnTo>
                <a:cubicBezTo>
                  <a:pt x="3018964" y="839885"/>
                  <a:pt x="2913055" y="842391"/>
                  <a:pt x="2863418" y="844898"/>
                </a:cubicBezTo>
                <a:cubicBezTo>
                  <a:pt x="1729901" y="960012"/>
                  <a:pt x="845352" y="1917303"/>
                  <a:pt x="845353" y="3081192"/>
                </a:cubicBezTo>
                <a:cubicBezTo>
                  <a:pt x="845352" y="4322673"/>
                  <a:pt x="1851771" y="5329091"/>
                  <a:pt x="3093253" y="5329091"/>
                </a:cubicBezTo>
                <a:cubicBezTo>
                  <a:pt x="4101956" y="5329092"/>
                  <a:pt x="4955482" y="4664698"/>
                  <a:pt x="5240092" y="3749648"/>
                </a:cubicBezTo>
                <a:lnTo>
                  <a:pt x="5248094" y="3718523"/>
                </a:lnTo>
                <a:lnTo>
                  <a:pt x="6032217" y="3913292"/>
                </a:lnTo>
                <a:lnTo>
                  <a:pt x="6012515" y="3989916"/>
                </a:lnTo>
                <a:cubicBezTo>
                  <a:pt x="5623135" y="5241810"/>
                  <a:pt x="4455412" y="6150778"/>
                  <a:pt x="3075389" y="6150778"/>
                </a:cubicBezTo>
                <a:cubicBezTo>
                  <a:pt x="1376899" y="6150778"/>
                  <a:pt x="0" y="4773879"/>
                  <a:pt x="0" y="3075389"/>
                </a:cubicBezTo>
                <a:cubicBezTo>
                  <a:pt x="0" y="1376899"/>
                  <a:pt x="1376899" y="0"/>
                  <a:pt x="3075389" y="0"/>
                </a:cubicBezTo>
                <a:close/>
              </a:path>
            </a:pathLst>
          </a:custGeom>
          <a:solidFill>
            <a:srgbClr val="9DB965"/>
          </a:soli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ctr" defTabSz="914309">
              <a:defRPr/>
            </a:pPr>
            <a:endParaRPr lang="en-US" sz="1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Freeform 81"/>
          <p:cNvSpPr/>
          <p:nvPr/>
        </p:nvSpPr>
        <p:spPr>
          <a:xfrm>
            <a:off x="1799922" y="1344873"/>
            <a:ext cx="4097024" cy="4185619"/>
          </a:xfrm>
          <a:custGeom>
            <a:avLst/>
            <a:gdLst>
              <a:gd name="connsiteX0" fmla="*/ 2093082 w 4097558"/>
              <a:gd name="connsiteY0" fmla="*/ 0 h 4186164"/>
              <a:gd name="connsiteX1" fmla="*/ 2565778 w 4097558"/>
              <a:gd name="connsiteY1" fmla="*/ 53598 h 4186164"/>
              <a:gd name="connsiteX2" fmla="*/ 2710232 w 4097558"/>
              <a:gd name="connsiteY2" fmla="*/ 92676 h 4186164"/>
              <a:gd name="connsiteX3" fmla="*/ 2503341 w 4097558"/>
              <a:gd name="connsiteY3" fmla="*/ 939465 h 4186164"/>
              <a:gd name="connsiteX4" fmla="*/ 2459813 w 4097558"/>
              <a:gd name="connsiteY4" fmla="*/ 923534 h 4186164"/>
              <a:gd name="connsiteX5" fmla="*/ 2097203 w 4097558"/>
              <a:gd name="connsiteY5" fmla="*/ 868712 h 4186164"/>
              <a:gd name="connsiteX6" fmla="*/ 877813 w 4097558"/>
              <a:gd name="connsiteY6" fmla="*/ 2088102 h 4186164"/>
              <a:gd name="connsiteX7" fmla="*/ 1734594 w 4097558"/>
              <a:gd name="connsiteY7" fmla="*/ 3252671 h 4186164"/>
              <a:gd name="connsiteX8" fmla="*/ 1849096 w 4097558"/>
              <a:gd name="connsiteY8" fmla="*/ 3282113 h 4186164"/>
              <a:gd name="connsiteX9" fmla="*/ 1969019 w 4097558"/>
              <a:gd name="connsiteY9" fmla="*/ 3300415 h 4186164"/>
              <a:gd name="connsiteX10" fmla="*/ 2103373 w 4097558"/>
              <a:gd name="connsiteY10" fmla="*/ 3306719 h 4186164"/>
              <a:gd name="connsiteX11" fmla="*/ 2276003 w 4097558"/>
              <a:gd name="connsiteY11" fmla="*/ 3292936 h 4186164"/>
              <a:gd name="connsiteX12" fmla="*/ 2456904 w 4097558"/>
              <a:gd name="connsiteY12" fmla="*/ 3251830 h 4186164"/>
              <a:gd name="connsiteX13" fmla="*/ 3218795 w 4097558"/>
              <a:gd name="connsiteY13" fmla="*/ 2561054 h 4186164"/>
              <a:gd name="connsiteX14" fmla="*/ 3249095 w 4097558"/>
              <a:gd name="connsiteY14" fmla="*/ 2478266 h 4186164"/>
              <a:gd name="connsiteX15" fmla="*/ 4097558 w 4097558"/>
              <a:gd name="connsiteY15" fmla="*/ 2686535 h 4186164"/>
              <a:gd name="connsiteX16" fmla="*/ 4090583 w 4097558"/>
              <a:gd name="connsiteY16" fmla="*/ 2713661 h 4186164"/>
              <a:gd name="connsiteX17" fmla="*/ 3698841 w 4097558"/>
              <a:gd name="connsiteY17" fmla="*/ 3432044 h 4186164"/>
              <a:gd name="connsiteX18" fmla="*/ 3573115 w 4097558"/>
              <a:gd name="connsiteY18" fmla="*/ 3573115 h 4186164"/>
              <a:gd name="connsiteX19" fmla="*/ 2715501 w 4097558"/>
              <a:gd name="connsiteY19" fmla="*/ 4092064 h 4186164"/>
              <a:gd name="connsiteX20" fmla="*/ 2603625 w 4097558"/>
              <a:gd name="connsiteY20" fmla="*/ 4120830 h 4186164"/>
              <a:gd name="connsiteX21" fmla="*/ 2602680 w 4097558"/>
              <a:gd name="connsiteY21" fmla="*/ 4121108 h 4186164"/>
              <a:gd name="connsiteX22" fmla="*/ 2601973 w 4097558"/>
              <a:gd name="connsiteY22" fmla="*/ 4121254 h 4186164"/>
              <a:gd name="connsiteX23" fmla="*/ 2514911 w 4097558"/>
              <a:gd name="connsiteY23" fmla="*/ 4143640 h 4186164"/>
              <a:gd name="connsiteX24" fmla="*/ 2437034 w 4097558"/>
              <a:gd name="connsiteY24" fmla="*/ 4155526 h 4186164"/>
              <a:gd name="connsiteX25" fmla="*/ 2436887 w 4097558"/>
              <a:gd name="connsiteY25" fmla="*/ 4155556 h 4186164"/>
              <a:gd name="connsiteX26" fmla="*/ 2436605 w 4097558"/>
              <a:gd name="connsiteY26" fmla="*/ 4155591 h 4186164"/>
              <a:gd name="connsiteX27" fmla="*/ 2307088 w 4097558"/>
              <a:gd name="connsiteY27" fmla="*/ 4175358 h 4186164"/>
              <a:gd name="connsiteX28" fmla="*/ 2093082 w 4097558"/>
              <a:gd name="connsiteY28" fmla="*/ 4186164 h 4186164"/>
              <a:gd name="connsiteX29" fmla="*/ 0 w 4097558"/>
              <a:gd name="connsiteY29" fmla="*/ 2093082 h 4186164"/>
              <a:gd name="connsiteX30" fmla="*/ 41 w 4097558"/>
              <a:gd name="connsiteY30" fmla="*/ 2092275 h 4186164"/>
              <a:gd name="connsiteX31" fmla="*/ 0 w 4097558"/>
              <a:gd name="connsiteY31" fmla="*/ 2091467 h 4186164"/>
              <a:gd name="connsiteX32" fmla="*/ 8287 w 4097558"/>
              <a:gd name="connsiteY32" fmla="*/ 1903964 h 4186164"/>
              <a:gd name="connsiteX33" fmla="*/ 10319 w 4097558"/>
              <a:gd name="connsiteY33" fmla="*/ 1888735 h 4186164"/>
              <a:gd name="connsiteX34" fmla="*/ 10806 w 4097558"/>
              <a:gd name="connsiteY34" fmla="*/ 1879077 h 4186164"/>
              <a:gd name="connsiteX35" fmla="*/ 17159 w 4097558"/>
              <a:gd name="connsiteY35" fmla="*/ 1837450 h 4186164"/>
              <a:gd name="connsiteX36" fmla="*/ 32680 w 4097558"/>
              <a:gd name="connsiteY36" fmla="*/ 1721091 h 4186164"/>
              <a:gd name="connsiteX37" fmla="*/ 39693 w 4097558"/>
              <a:gd name="connsiteY37" fmla="*/ 1689800 h 4186164"/>
              <a:gd name="connsiteX38" fmla="*/ 42524 w 4097558"/>
              <a:gd name="connsiteY38" fmla="*/ 1671253 h 4186164"/>
              <a:gd name="connsiteX39" fmla="*/ 52863 w 4097558"/>
              <a:gd name="connsiteY39" fmla="*/ 1631042 h 4186164"/>
              <a:gd name="connsiteX40" fmla="*/ 72473 w 4097558"/>
              <a:gd name="connsiteY40" fmla="*/ 1543554 h 4186164"/>
              <a:gd name="connsiteX41" fmla="*/ 87605 w 4097558"/>
              <a:gd name="connsiteY41" fmla="*/ 1495927 h 4186164"/>
              <a:gd name="connsiteX42" fmla="*/ 94101 w 4097558"/>
              <a:gd name="connsiteY42" fmla="*/ 1470664 h 4186164"/>
              <a:gd name="connsiteX43" fmla="*/ 105706 w 4097558"/>
              <a:gd name="connsiteY43" fmla="*/ 1438956 h 4186164"/>
              <a:gd name="connsiteX44" fmla="*/ 126962 w 4097558"/>
              <a:gd name="connsiteY44" fmla="*/ 1372056 h 4186164"/>
              <a:gd name="connsiteX45" fmla="*/ 154003 w 4097558"/>
              <a:gd name="connsiteY45" fmla="*/ 1307000 h 4186164"/>
              <a:gd name="connsiteX46" fmla="*/ 164485 w 4097558"/>
              <a:gd name="connsiteY46" fmla="*/ 1278360 h 4186164"/>
              <a:gd name="connsiteX47" fmla="*/ 174852 w 4097558"/>
              <a:gd name="connsiteY47" fmla="*/ 1256840 h 4186164"/>
              <a:gd name="connsiteX48" fmla="*/ 195442 w 4097558"/>
              <a:gd name="connsiteY48" fmla="*/ 1207302 h 4186164"/>
              <a:gd name="connsiteX49" fmla="*/ 240124 w 4097558"/>
              <a:gd name="connsiteY49" fmla="*/ 1121343 h 4186164"/>
              <a:gd name="connsiteX50" fmla="*/ 252624 w 4097558"/>
              <a:gd name="connsiteY50" fmla="*/ 1095395 h 4186164"/>
              <a:gd name="connsiteX51" fmla="*/ 259467 w 4097558"/>
              <a:gd name="connsiteY51" fmla="*/ 1084131 h 4186164"/>
              <a:gd name="connsiteX52" fmla="*/ 277209 w 4097558"/>
              <a:gd name="connsiteY52" fmla="*/ 1049998 h 4186164"/>
              <a:gd name="connsiteX53" fmla="*/ 352781 w 4097558"/>
              <a:gd name="connsiteY53" fmla="*/ 930532 h 4186164"/>
              <a:gd name="connsiteX54" fmla="*/ 357466 w 4097558"/>
              <a:gd name="connsiteY54" fmla="*/ 922820 h 4186164"/>
              <a:gd name="connsiteX55" fmla="*/ 358720 w 4097558"/>
              <a:gd name="connsiteY55" fmla="*/ 921143 h 4186164"/>
              <a:gd name="connsiteX56" fmla="*/ 371559 w 4097558"/>
              <a:gd name="connsiteY56" fmla="*/ 900847 h 4186164"/>
              <a:gd name="connsiteX57" fmla="*/ 723054 w 4097558"/>
              <a:gd name="connsiteY57" fmla="*/ 509361 h 4186164"/>
              <a:gd name="connsiteX58" fmla="*/ 755787 w 4097558"/>
              <a:gd name="connsiteY58" fmla="*/ 483321 h 4186164"/>
              <a:gd name="connsiteX59" fmla="*/ 761688 w 4097558"/>
              <a:gd name="connsiteY59" fmla="*/ 477958 h 4186164"/>
              <a:gd name="connsiteX60" fmla="*/ 775694 w 4097558"/>
              <a:gd name="connsiteY60" fmla="*/ 467485 h 4186164"/>
              <a:gd name="connsiteX61" fmla="*/ 860687 w 4097558"/>
              <a:gd name="connsiteY61" fmla="*/ 399870 h 4186164"/>
              <a:gd name="connsiteX62" fmla="*/ 910798 w 4097558"/>
              <a:gd name="connsiteY62" fmla="*/ 366456 h 4186164"/>
              <a:gd name="connsiteX63" fmla="*/ 922820 w 4097558"/>
              <a:gd name="connsiteY63" fmla="*/ 357466 h 4186164"/>
              <a:gd name="connsiteX64" fmla="*/ 939242 w 4097558"/>
              <a:gd name="connsiteY64" fmla="*/ 347490 h 4186164"/>
              <a:gd name="connsiteX65" fmla="*/ 1007379 w 4097558"/>
              <a:gd name="connsiteY65" fmla="*/ 302055 h 4186164"/>
              <a:gd name="connsiteX66" fmla="*/ 1078887 w 4097558"/>
              <a:gd name="connsiteY66" fmla="*/ 262653 h 4186164"/>
              <a:gd name="connsiteX67" fmla="*/ 1095395 w 4097558"/>
              <a:gd name="connsiteY67" fmla="*/ 252624 h 4186164"/>
              <a:gd name="connsiteX68" fmla="*/ 1108854 w 4097558"/>
              <a:gd name="connsiteY68" fmla="*/ 246140 h 4186164"/>
              <a:gd name="connsiteX69" fmla="*/ 1162426 w 4097558"/>
              <a:gd name="connsiteY69" fmla="*/ 216621 h 4186164"/>
              <a:gd name="connsiteX70" fmla="*/ 1262637 w 4097558"/>
              <a:gd name="connsiteY70" fmla="*/ 172059 h 4186164"/>
              <a:gd name="connsiteX71" fmla="*/ 1278360 w 4097558"/>
              <a:gd name="connsiteY71" fmla="*/ 164485 h 4186164"/>
              <a:gd name="connsiteX72" fmla="*/ 1285763 w 4097558"/>
              <a:gd name="connsiteY72" fmla="*/ 161775 h 4186164"/>
              <a:gd name="connsiteX73" fmla="*/ 1325123 w 4097558"/>
              <a:gd name="connsiteY73" fmla="*/ 144273 h 4186164"/>
              <a:gd name="connsiteX74" fmla="*/ 1670649 w 4097558"/>
              <a:gd name="connsiteY74" fmla="*/ 41651 h 4186164"/>
              <a:gd name="connsiteX75" fmla="*/ 1709142 w 4097558"/>
              <a:gd name="connsiteY75" fmla="*/ 35776 h 4186164"/>
              <a:gd name="connsiteX76" fmla="*/ 1708896 w 4097558"/>
              <a:gd name="connsiteY76" fmla="*/ 36779 h 4186164"/>
              <a:gd name="connsiteX77" fmla="*/ 1879077 w 4097558"/>
              <a:gd name="connsiteY77" fmla="*/ 10806 h 4186164"/>
              <a:gd name="connsiteX78" fmla="*/ 2093082 w 4097558"/>
              <a:gd name="connsiteY78" fmla="*/ 0 h 4186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4097558" h="4186164">
                <a:moveTo>
                  <a:pt x="2093082" y="0"/>
                </a:moveTo>
                <a:cubicBezTo>
                  <a:pt x="2255642" y="0"/>
                  <a:pt x="2413873" y="18532"/>
                  <a:pt x="2565778" y="53598"/>
                </a:cubicBezTo>
                <a:lnTo>
                  <a:pt x="2710232" y="92676"/>
                </a:lnTo>
                <a:lnTo>
                  <a:pt x="2503341" y="939465"/>
                </a:lnTo>
                <a:lnTo>
                  <a:pt x="2459813" y="923534"/>
                </a:lnTo>
                <a:cubicBezTo>
                  <a:pt x="2345264" y="887905"/>
                  <a:pt x="2223475" y="868712"/>
                  <a:pt x="2097203" y="868712"/>
                </a:cubicBezTo>
                <a:cubicBezTo>
                  <a:pt x="1423752" y="868712"/>
                  <a:pt x="877813" y="1414651"/>
                  <a:pt x="877813" y="2088102"/>
                </a:cubicBezTo>
                <a:cubicBezTo>
                  <a:pt x="877813" y="2635281"/>
                  <a:pt x="1238218" y="3098282"/>
                  <a:pt x="1734594" y="3252671"/>
                </a:cubicBezTo>
                <a:lnTo>
                  <a:pt x="1849096" y="3282113"/>
                </a:lnTo>
                <a:lnTo>
                  <a:pt x="1969019" y="3300415"/>
                </a:lnTo>
                <a:cubicBezTo>
                  <a:pt x="2010062" y="3304583"/>
                  <a:pt x="2030275" y="3306719"/>
                  <a:pt x="2103373" y="3306719"/>
                </a:cubicBezTo>
                <a:cubicBezTo>
                  <a:pt x="2197429" y="3304506"/>
                  <a:pt x="2203379" y="3304674"/>
                  <a:pt x="2276003" y="3292936"/>
                </a:cubicBezTo>
                <a:cubicBezTo>
                  <a:pt x="2348210" y="3283997"/>
                  <a:pt x="2396604" y="3265532"/>
                  <a:pt x="2456904" y="3251830"/>
                </a:cubicBezTo>
                <a:cubicBezTo>
                  <a:pt x="2800971" y="3144814"/>
                  <a:pt x="3079789" y="2889701"/>
                  <a:pt x="3218795" y="2561054"/>
                </a:cubicBezTo>
                <a:lnTo>
                  <a:pt x="3249095" y="2478266"/>
                </a:lnTo>
                <a:lnTo>
                  <a:pt x="4097558" y="2686535"/>
                </a:lnTo>
                <a:lnTo>
                  <a:pt x="4090583" y="2713661"/>
                </a:lnTo>
                <a:cubicBezTo>
                  <a:pt x="4007798" y="2979823"/>
                  <a:pt x="3873300" y="3223202"/>
                  <a:pt x="3698841" y="3432044"/>
                </a:cubicBezTo>
                <a:lnTo>
                  <a:pt x="3573115" y="3573115"/>
                </a:lnTo>
                <a:cubicBezTo>
                  <a:pt x="3336381" y="3809848"/>
                  <a:pt x="3043204" y="3990137"/>
                  <a:pt x="2715501" y="4092064"/>
                </a:cubicBezTo>
                <a:lnTo>
                  <a:pt x="2603625" y="4120830"/>
                </a:lnTo>
                <a:lnTo>
                  <a:pt x="2602680" y="4121108"/>
                </a:lnTo>
                <a:lnTo>
                  <a:pt x="2601973" y="4121254"/>
                </a:lnTo>
                <a:lnTo>
                  <a:pt x="2514911" y="4143640"/>
                </a:lnTo>
                <a:lnTo>
                  <a:pt x="2437034" y="4155526"/>
                </a:lnTo>
                <a:lnTo>
                  <a:pt x="2436887" y="4155556"/>
                </a:lnTo>
                <a:lnTo>
                  <a:pt x="2436605" y="4155591"/>
                </a:lnTo>
                <a:lnTo>
                  <a:pt x="2307088" y="4175358"/>
                </a:lnTo>
                <a:cubicBezTo>
                  <a:pt x="2236724" y="4182504"/>
                  <a:pt x="2165331" y="4186164"/>
                  <a:pt x="2093082" y="4186164"/>
                </a:cubicBezTo>
                <a:cubicBezTo>
                  <a:pt x="937105" y="4186164"/>
                  <a:pt x="0" y="3249059"/>
                  <a:pt x="0" y="2093082"/>
                </a:cubicBezTo>
                <a:cubicBezTo>
                  <a:pt x="14" y="2092813"/>
                  <a:pt x="27" y="2092544"/>
                  <a:pt x="41" y="2092275"/>
                </a:cubicBezTo>
                <a:cubicBezTo>
                  <a:pt x="27" y="2092006"/>
                  <a:pt x="14" y="2091736"/>
                  <a:pt x="0" y="2091467"/>
                </a:cubicBezTo>
                <a:cubicBezTo>
                  <a:pt x="0" y="2028273"/>
                  <a:pt x="2802" y="1965732"/>
                  <a:pt x="8287" y="1903964"/>
                </a:cubicBezTo>
                <a:lnTo>
                  <a:pt x="10319" y="1888735"/>
                </a:lnTo>
                <a:cubicBezTo>
                  <a:pt x="10481" y="1885516"/>
                  <a:pt x="10644" y="1882296"/>
                  <a:pt x="10806" y="1879077"/>
                </a:cubicBezTo>
                <a:lnTo>
                  <a:pt x="17159" y="1837450"/>
                </a:lnTo>
                <a:lnTo>
                  <a:pt x="32680" y="1721091"/>
                </a:lnTo>
                <a:lnTo>
                  <a:pt x="39693" y="1689800"/>
                </a:lnTo>
                <a:lnTo>
                  <a:pt x="42524" y="1671253"/>
                </a:lnTo>
                <a:lnTo>
                  <a:pt x="52863" y="1631042"/>
                </a:lnTo>
                <a:lnTo>
                  <a:pt x="72473" y="1543554"/>
                </a:lnTo>
                <a:lnTo>
                  <a:pt x="87605" y="1495927"/>
                </a:lnTo>
                <a:lnTo>
                  <a:pt x="94101" y="1470664"/>
                </a:lnTo>
                <a:lnTo>
                  <a:pt x="105706" y="1438956"/>
                </a:lnTo>
                <a:lnTo>
                  <a:pt x="126962" y="1372056"/>
                </a:lnTo>
                <a:lnTo>
                  <a:pt x="154003" y="1307000"/>
                </a:lnTo>
                <a:lnTo>
                  <a:pt x="164485" y="1278360"/>
                </a:lnTo>
                <a:lnTo>
                  <a:pt x="174852" y="1256840"/>
                </a:lnTo>
                <a:lnTo>
                  <a:pt x="195442" y="1207302"/>
                </a:lnTo>
                <a:lnTo>
                  <a:pt x="240124" y="1121343"/>
                </a:lnTo>
                <a:lnTo>
                  <a:pt x="252624" y="1095395"/>
                </a:lnTo>
                <a:lnTo>
                  <a:pt x="259467" y="1084131"/>
                </a:lnTo>
                <a:lnTo>
                  <a:pt x="277209" y="1049998"/>
                </a:lnTo>
                <a:lnTo>
                  <a:pt x="352781" y="930532"/>
                </a:lnTo>
                <a:lnTo>
                  <a:pt x="357466" y="922820"/>
                </a:lnTo>
                <a:lnTo>
                  <a:pt x="358720" y="921143"/>
                </a:lnTo>
                <a:lnTo>
                  <a:pt x="371559" y="900847"/>
                </a:lnTo>
                <a:cubicBezTo>
                  <a:pt x="471964" y="756008"/>
                  <a:pt x="590186" y="624456"/>
                  <a:pt x="723054" y="509361"/>
                </a:cubicBezTo>
                <a:lnTo>
                  <a:pt x="755787" y="483321"/>
                </a:lnTo>
                <a:lnTo>
                  <a:pt x="761688" y="477958"/>
                </a:lnTo>
                <a:lnTo>
                  <a:pt x="775694" y="467485"/>
                </a:lnTo>
                <a:lnTo>
                  <a:pt x="860687" y="399870"/>
                </a:lnTo>
                <a:lnTo>
                  <a:pt x="910798" y="366456"/>
                </a:lnTo>
                <a:lnTo>
                  <a:pt x="922820" y="357466"/>
                </a:lnTo>
                <a:lnTo>
                  <a:pt x="939242" y="347490"/>
                </a:lnTo>
                <a:lnTo>
                  <a:pt x="1007379" y="302055"/>
                </a:lnTo>
                <a:lnTo>
                  <a:pt x="1078887" y="262653"/>
                </a:lnTo>
                <a:lnTo>
                  <a:pt x="1095395" y="252624"/>
                </a:lnTo>
                <a:lnTo>
                  <a:pt x="1108854" y="246140"/>
                </a:lnTo>
                <a:lnTo>
                  <a:pt x="1162426" y="216621"/>
                </a:lnTo>
                <a:lnTo>
                  <a:pt x="1262637" y="172059"/>
                </a:lnTo>
                <a:lnTo>
                  <a:pt x="1278360" y="164485"/>
                </a:lnTo>
                <a:lnTo>
                  <a:pt x="1285763" y="161775"/>
                </a:lnTo>
                <a:lnTo>
                  <a:pt x="1325123" y="144273"/>
                </a:lnTo>
                <a:cubicBezTo>
                  <a:pt x="1435981" y="100559"/>
                  <a:pt x="1551470" y="66039"/>
                  <a:pt x="1670649" y="41651"/>
                </a:cubicBezTo>
                <a:lnTo>
                  <a:pt x="1709142" y="35776"/>
                </a:lnTo>
                <a:lnTo>
                  <a:pt x="1708896" y="36779"/>
                </a:lnTo>
                <a:lnTo>
                  <a:pt x="1879077" y="10806"/>
                </a:lnTo>
                <a:cubicBezTo>
                  <a:pt x="1949440" y="3661"/>
                  <a:pt x="2020834" y="0"/>
                  <a:pt x="2093082" y="0"/>
                </a:cubicBezTo>
                <a:close/>
              </a:path>
            </a:pathLst>
          </a:custGeom>
          <a:solidFill>
            <a:srgbClr val="84C7DA"/>
          </a:soli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309">
              <a:defRPr/>
            </a:pPr>
            <a:endParaRPr lang="en-US" sz="1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itle 3"/>
          <p:cNvSpPr txBox="1">
            <a:spLocks/>
          </p:cNvSpPr>
          <p:nvPr/>
        </p:nvSpPr>
        <p:spPr>
          <a:xfrm>
            <a:off x="5263253" y="2157295"/>
            <a:ext cx="3171759" cy="1689806"/>
          </a:xfrm>
          <a:prstGeom prst="rect">
            <a:avLst/>
          </a:prstGeom>
          <a:noFill/>
        </p:spPr>
        <p:txBody>
          <a:bodyPr vert="horz" lIns="91428" tIns="45714" rIns="91428" bIns="4571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kern="1200">
                <a:solidFill>
                  <a:schemeClr val="tx2"/>
                </a:solidFill>
                <a:latin typeface="Times" charset="0"/>
                <a:ea typeface="Times" charset="0"/>
                <a:cs typeface="Times" charset="0"/>
              </a:defRPr>
            </a:lvl1pPr>
          </a:lstStyle>
          <a:p>
            <a:pPr defTabSz="914309">
              <a:defRPr/>
            </a:pPr>
            <a:r>
              <a:rPr lang="en-US" sz="2800" dirty="0">
                <a:solidFill>
                  <a:srgbClr val="FFFFFF"/>
                </a:solidFill>
              </a:rPr>
              <a:t>Developing Solutions </a:t>
            </a:r>
            <a:br>
              <a:rPr lang="en-US" sz="2800" dirty="0">
                <a:solidFill>
                  <a:srgbClr val="FFFFFF"/>
                </a:solidFill>
              </a:rPr>
            </a:br>
            <a:r>
              <a:rPr lang="en-US" sz="2800" dirty="0">
                <a:solidFill>
                  <a:srgbClr val="FFFFFF"/>
                </a:solidFill>
              </a:rPr>
              <a:t>for Farmers</a:t>
            </a:r>
          </a:p>
        </p:txBody>
      </p:sp>
      <p:sp>
        <p:nvSpPr>
          <p:cNvPr id="11" name="Oval 5"/>
          <p:cNvSpPr>
            <a:spLocks noChangeArrowheads="1"/>
          </p:cNvSpPr>
          <p:nvPr/>
        </p:nvSpPr>
        <p:spPr bwMode="auto">
          <a:xfrm>
            <a:off x="2831353" y="2383461"/>
            <a:ext cx="2113099" cy="2106604"/>
          </a:xfrm>
          <a:prstGeom prst="ellipse">
            <a:avLst/>
          </a:prstGeom>
          <a:solidFill>
            <a:schemeClr val="accent2"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1901" tIns="60950" rIns="121901" bIns="60950" anchor="ctr"/>
          <a:lstStyle/>
          <a:p>
            <a:pPr defTabSz="914309" eaLnBrk="0" hangingPunct="0">
              <a:defRPr/>
            </a:pPr>
            <a:endParaRPr lang="en-US" sz="1400" b="1" i="1" kern="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 rot="1637901">
            <a:off x="2530043" y="4652454"/>
            <a:ext cx="1374959" cy="423084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Down">
              <a:avLst/>
            </a:prstTxWarp>
            <a:spAutoFit/>
          </a:bodyPr>
          <a:lstStyle/>
          <a:p>
            <a:pPr algn="ctr" defTabSz="914309">
              <a:lnSpc>
                <a:spcPct val="85000"/>
              </a:lnSpc>
              <a:defRPr/>
            </a:pPr>
            <a: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T</a:t>
            </a:r>
            <a:b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</a:t>
            </a:r>
          </a:p>
        </p:txBody>
      </p:sp>
      <p:sp>
        <p:nvSpPr>
          <p:cNvPr id="13" name="TextBox 12"/>
          <p:cNvSpPr txBox="1"/>
          <p:nvPr/>
        </p:nvSpPr>
        <p:spPr>
          <a:xfrm rot="18480000">
            <a:off x="2185235" y="2198944"/>
            <a:ext cx="1307288" cy="673821"/>
          </a:xfrm>
          <a:prstGeom prst="rect">
            <a:avLst/>
          </a:prstGeom>
          <a:noFill/>
        </p:spPr>
        <p:txBody>
          <a:bodyPr spcFirstLastPara="1" wrap="square" lIns="121901" tIns="60950" rIns="121901" bIns="60950" numCol="1" rtlCol="0">
            <a:prstTxWarp prst="textArchUp">
              <a:avLst/>
            </a:prstTxWarp>
            <a:spAutoFit/>
          </a:bodyPr>
          <a:lstStyle/>
          <a:p>
            <a:pPr algn="ctr" defTabSz="914309">
              <a:lnSpc>
                <a:spcPct val="85000"/>
              </a:lnSpc>
              <a:defRPr/>
            </a:pPr>
            <a: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ST </a:t>
            </a:r>
            <a:b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O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29566" y="1538478"/>
            <a:ext cx="1314718" cy="535481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Up">
              <a:avLst/>
            </a:prstTxWarp>
            <a:spAutoFit/>
          </a:bodyPr>
          <a:lstStyle/>
          <a:p>
            <a:pPr algn="ctr" defTabSz="914309">
              <a:lnSpc>
                <a:spcPct val="85000"/>
              </a:lnSpc>
              <a:defRPr/>
            </a:pPr>
            <a: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IELD</a:t>
            </a:r>
          </a:p>
        </p:txBody>
      </p:sp>
      <p:sp>
        <p:nvSpPr>
          <p:cNvPr id="15" name="TextBox 14"/>
          <p:cNvSpPr txBox="1"/>
          <p:nvPr/>
        </p:nvSpPr>
        <p:spPr>
          <a:xfrm rot="19980000">
            <a:off x="4055895" y="4866956"/>
            <a:ext cx="1213900" cy="377948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Down">
              <a:avLst/>
            </a:prstTxWarp>
            <a:spAutoFit/>
          </a:bodyPr>
          <a:lstStyle/>
          <a:p>
            <a:pPr algn="ctr" defTabSz="914309">
              <a:lnSpc>
                <a:spcPct val="85000"/>
              </a:lnSpc>
              <a:defRPr/>
            </a:pPr>
            <a: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RTILITY</a:t>
            </a:r>
          </a:p>
        </p:txBody>
      </p:sp>
      <p:sp>
        <p:nvSpPr>
          <p:cNvPr id="16" name="TextBox 15"/>
          <p:cNvSpPr txBox="1"/>
          <p:nvPr/>
        </p:nvSpPr>
        <p:spPr>
          <a:xfrm rot="4500000">
            <a:off x="1665966" y="3617156"/>
            <a:ext cx="1374959" cy="423084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Down">
              <a:avLst/>
            </a:prstTxWarp>
            <a:spAutoFit/>
          </a:bodyPr>
          <a:lstStyle/>
          <a:p>
            <a:pPr algn="ctr" defTabSz="914309">
              <a:lnSpc>
                <a:spcPct val="85000"/>
              </a:lnSpc>
              <a:defRPr/>
            </a:pPr>
            <a: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ED</a:t>
            </a:r>
            <a:b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OL</a:t>
            </a:r>
          </a:p>
        </p:txBody>
      </p:sp>
      <p:sp>
        <p:nvSpPr>
          <p:cNvPr id="17" name="Freeform 10"/>
          <p:cNvSpPr>
            <a:spLocks noEditPoints="1"/>
          </p:cNvSpPr>
          <p:nvPr/>
        </p:nvSpPr>
        <p:spPr bwMode="auto">
          <a:xfrm rot="4500000">
            <a:off x="2317069" y="3494650"/>
            <a:ext cx="309365" cy="414265"/>
          </a:xfrm>
          <a:custGeom>
            <a:avLst/>
            <a:gdLst>
              <a:gd name="T0" fmla="*/ 159 w 257"/>
              <a:gd name="T1" fmla="*/ 249 h 355"/>
              <a:gd name="T2" fmla="*/ 152 w 257"/>
              <a:gd name="T3" fmla="*/ 255 h 355"/>
              <a:gd name="T4" fmla="*/ 153 w 257"/>
              <a:gd name="T5" fmla="*/ 235 h 355"/>
              <a:gd name="T6" fmla="*/ 172 w 257"/>
              <a:gd name="T7" fmla="*/ 135 h 355"/>
              <a:gd name="T8" fmla="*/ 172 w 257"/>
              <a:gd name="T9" fmla="*/ 166 h 355"/>
              <a:gd name="T10" fmla="*/ 182 w 257"/>
              <a:gd name="T11" fmla="*/ 146 h 355"/>
              <a:gd name="T12" fmla="*/ 169 w 257"/>
              <a:gd name="T13" fmla="*/ 56 h 355"/>
              <a:gd name="T14" fmla="*/ 156 w 257"/>
              <a:gd name="T15" fmla="*/ 60 h 355"/>
              <a:gd name="T16" fmla="*/ 129 w 257"/>
              <a:gd name="T17" fmla="*/ 148 h 355"/>
              <a:gd name="T18" fmla="*/ 136 w 257"/>
              <a:gd name="T19" fmla="*/ 169 h 355"/>
              <a:gd name="T20" fmla="*/ 140 w 257"/>
              <a:gd name="T21" fmla="*/ 135 h 355"/>
              <a:gd name="T22" fmla="*/ 145 w 257"/>
              <a:gd name="T23" fmla="*/ 230 h 355"/>
              <a:gd name="T24" fmla="*/ 143 w 257"/>
              <a:gd name="T25" fmla="*/ 259 h 355"/>
              <a:gd name="T26" fmla="*/ 137 w 257"/>
              <a:gd name="T27" fmla="*/ 243 h 355"/>
              <a:gd name="T28" fmla="*/ 126 w 257"/>
              <a:gd name="T29" fmla="*/ 151 h 355"/>
              <a:gd name="T30" fmla="*/ 90 w 257"/>
              <a:gd name="T31" fmla="*/ 64 h 355"/>
              <a:gd name="T32" fmla="*/ 54 w 257"/>
              <a:gd name="T33" fmla="*/ 144 h 355"/>
              <a:gd name="T34" fmla="*/ 85 w 257"/>
              <a:gd name="T35" fmla="*/ 201 h 355"/>
              <a:gd name="T36" fmla="*/ 0 w 257"/>
              <a:gd name="T37" fmla="*/ 169 h 355"/>
              <a:gd name="T38" fmla="*/ 46 w 257"/>
              <a:gd name="T39" fmla="*/ 223 h 355"/>
              <a:gd name="T40" fmla="*/ 55 w 257"/>
              <a:gd name="T41" fmla="*/ 195 h 355"/>
              <a:gd name="T42" fmla="*/ 126 w 257"/>
              <a:gd name="T43" fmla="*/ 323 h 355"/>
              <a:gd name="T44" fmla="*/ 124 w 257"/>
              <a:gd name="T45" fmla="*/ 262 h 355"/>
              <a:gd name="T46" fmla="*/ 129 w 257"/>
              <a:gd name="T47" fmla="*/ 265 h 355"/>
              <a:gd name="T48" fmla="*/ 108 w 257"/>
              <a:gd name="T49" fmla="*/ 188 h 355"/>
              <a:gd name="T50" fmla="*/ 121 w 257"/>
              <a:gd name="T51" fmla="*/ 219 h 355"/>
              <a:gd name="T52" fmla="*/ 128 w 257"/>
              <a:gd name="T53" fmla="*/ 231 h 355"/>
              <a:gd name="T54" fmla="*/ 137 w 257"/>
              <a:gd name="T55" fmla="*/ 348 h 355"/>
              <a:gd name="T56" fmla="*/ 143 w 257"/>
              <a:gd name="T57" fmla="*/ 353 h 355"/>
              <a:gd name="T58" fmla="*/ 169 w 257"/>
              <a:gd name="T59" fmla="*/ 237 h 355"/>
              <a:gd name="T60" fmla="*/ 164 w 257"/>
              <a:gd name="T61" fmla="*/ 271 h 355"/>
              <a:gd name="T62" fmla="*/ 233 w 257"/>
              <a:gd name="T63" fmla="*/ 174 h 355"/>
              <a:gd name="T64" fmla="*/ 185 w 257"/>
              <a:gd name="T65" fmla="*/ 182 h 355"/>
              <a:gd name="T66" fmla="*/ 107 w 257"/>
              <a:gd name="T67" fmla="*/ 253 h 355"/>
              <a:gd name="T68" fmla="*/ 115 w 257"/>
              <a:gd name="T69" fmla="*/ 253 h 355"/>
              <a:gd name="T70" fmla="*/ 110 w 257"/>
              <a:gd name="T71" fmla="*/ 161 h 355"/>
              <a:gd name="T72" fmla="*/ 121 w 257"/>
              <a:gd name="T73" fmla="*/ 171 h 355"/>
              <a:gd name="T74" fmla="*/ 110 w 257"/>
              <a:gd name="T75" fmla="*/ 161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57" h="355">
                <a:moveTo>
                  <a:pt x="185" y="182"/>
                </a:moveTo>
                <a:cubicBezTo>
                  <a:pt x="167" y="200"/>
                  <a:pt x="162" y="240"/>
                  <a:pt x="159" y="249"/>
                </a:cubicBezTo>
                <a:cubicBezTo>
                  <a:pt x="157" y="256"/>
                  <a:pt x="152" y="274"/>
                  <a:pt x="149" y="285"/>
                </a:cubicBezTo>
                <a:cubicBezTo>
                  <a:pt x="150" y="274"/>
                  <a:pt x="151" y="263"/>
                  <a:pt x="152" y="255"/>
                </a:cubicBezTo>
                <a:cubicBezTo>
                  <a:pt x="152" y="249"/>
                  <a:pt x="152" y="244"/>
                  <a:pt x="152" y="239"/>
                </a:cubicBezTo>
                <a:cubicBezTo>
                  <a:pt x="152" y="238"/>
                  <a:pt x="152" y="236"/>
                  <a:pt x="153" y="235"/>
                </a:cubicBezTo>
                <a:cubicBezTo>
                  <a:pt x="157" y="214"/>
                  <a:pt x="164" y="193"/>
                  <a:pt x="171" y="162"/>
                </a:cubicBezTo>
                <a:cubicBezTo>
                  <a:pt x="173" y="154"/>
                  <a:pt x="173" y="145"/>
                  <a:pt x="172" y="135"/>
                </a:cubicBezTo>
                <a:cubicBezTo>
                  <a:pt x="174" y="130"/>
                  <a:pt x="176" y="125"/>
                  <a:pt x="176" y="120"/>
                </a:cubicBezTo>
                <a:cubicBezTo>
                  <a:pt x="176" y="132"/>
                  <a:pt x="175" y="155"/>
                  <a:pt x="172" y="166"/>
                </a:cubicBezTo>
                <a:cubicBezTo>
                  <a:pt x="169" y="181"/>
                  <a:pt x="165" y="206"/>
                  <a:pt x="160" y="213"/>
                </a:cubicBezTo>
                <a:cubicBezTo>
                  <a:pt x="160" y="213"/>
                  <a:pt x="178" y="191"/>
                  <a:pt x="182" y="146"/>
                </a:cubicBezTo>
                <a:cubicBezTo>
                  <a:pt x="187" y="101"/>
                  <a:pt x="184" y="37"/>
                  <a:pt x="172" y="0"/>
                </a:cubicBezTo>
                <a:cubicBezTo>
                  <a:pt x="172" y="0"/>
                  <a:pt x="179" y="35"/>
                  <a:pt x="169" y="56"/>
                </a:cubicBezTo>
                <a:cubicBezTo>
                  <a:pt x="167" y="61"/>
                  <a:pt x="164" y="68"/>
                  <a:pt x="161" y="75"/>
                </a:cubicBezTo>
                <a:cubicBezTo>
                  <a:pt x="159" y="69"/>
                  <a:pt x="157" y="64"/>
                  <a:pt x="156" y="60"/>
                </a:cubicBezTo>
                <a:cubicBezTo>
                  <a:pt x="150" y="38"/>
                  <a:pt x="162" y="5"/>
                  <a:pt x="162" y="5"/>
                </a:cubicBezTo>
                <a:cubicBezTo>
                  <a:pt x="144" y="40"/>
                  <a:pt x="132" y="103"/>
                  <a:pt x="129" y="148"/>
                </a:cubicBezTo>
                <a:cubicBezTo>
                  <a:pt x="127" y="194"/>
                  <a:pt x="141" y="217"/>
                  <a:pt x="141" y="217"/>
                </a:cubicBezTo>
                <a:cubicBezTo>
                  <a:pt x="137" y="210"/>
                  <a:pt x="137" y="185"/>
                  <a:pt x="136" y="169"/>
                </a:cubicBezTo>
                <a:cubicBezTo>
                  <a:pt x="135" y="158"/>
                  <a:pt x="138" y="135"/>
                  <a:pt x="139" y="123"/>
                </a:cubicBezTo>
                <a:cubicBezTo>
                  <a:pt x="139" y="127"/>
                  <a:pt x="140" y="131"/>
                  <a:pt x="140" y="135"/>
                </a:cubicBezTo>
                <a:cubicBezTo>
                  <a:pt x="139" y="142"/>
                  <a:pt x="138" y="149"/>
                  <a:pt x="139" y="156"/>
                </a:cubicBezTo>
                <a:cubicBezTo>
                  <a:pt x="140" y="187"/>
                  <a:pt x="144" y="208"/>
                  <a:pt x="145" y="230"/>
                </a:cubicBezTo>
                <a:cubicBezTo>
                  <a:pt x="145" y="232"/>
                  <a:pt x="146" y="235"/>
                  <a:pt x="146" y="238"/>
                </a:cubicBezTo>
                <a:cubicBezTo>
                  <a:pt x="145" y="245"/>
                  <a:pt x="144" y="252"/>
                  <a:pt x="143" y="259"/>
                </a:cubicBezTo>
                <a:cubicBezTo>
                  <a:pt x="142" y="264"/>
                  <a:pt x="141" y="270"/>
                  <a:pt x="141" y="277"/>
                </a:cubicBezTo>
                <a:cubicBezTo>
                  <a:pt x="140" y="265"/>
                  <a:pt x="138" y="249"/>
                  <a:pt x="137" y="243"/>
                </a:cubicBezTo>
                <a:cubicBezTo>
                  <a:pt x="136" y="235"/>
                  <a:pt x="136" y="206"/>
                  <a:pt x="128" y="185"/>
                </a:cubicBezTo>
                <a:cubicBezTo>
                  <a:pt x="128" y="175"/>
                  <a:pt x="128" y="164"/>
                  <a:pt x="126" y="151"/>
                </a:cubicBezTo>
                <a:cubicBezTo>
                  <a:pt x="118" y="106"/>
                  <a:pt x="99" y="43"/>
                  <a:pt x="78" y="9"/>
                </a:cubicBezTo>
                <a:cubicBezTo>
                  <a:pt x="78" y="9"/>
                  <a:pt x="94" y="42"/>
                  <a:pt x="90" y="64"/>
                </a:cubicBezTo>
                <a:cubicBezTo>
                  <a:pt x="87" y="81"/>
                  <a:pt x="80" y="115"/>
                  <a:pt x="81" y="144"/>
                </a:cubicBezTo>
                <a:cubicBezTo>
                  <a:pt x="72" y="141"/>
                  <a:pt x="62" y="141"/>
                  <a:pt x="54" y="144"/>
                </a:cubicBezTo>
                <a:cubicBezTo>
                  <a:pt x="54" y="144"/>
                  <a:pt x="72" y="154"/>
                  <a:pt x="75" y="162"/>
                </a:cubicBezTo>
                <a:cubicBezTo>
                  <a:pt x="78" y="169"/>
                  <a:pt x="80" y="184"/>
                  <a:pt x="85" y="201"/>
                </a:cubicBezTo>
                <a:cubicBezTo>
                  <a:pt x="81" y="196"/>
                  <a:pt x="78" y="191"/>
                  <a:pt x="73" y="187"/>
                </a:cubicBezTo>
                <a:cubicBezTo>
                  <a:pt x="53" y="170"/>
                  <a:pt x="19" y="157"/>
                  <a:pt x="0" y="169"/>
                </a:cubicBezTo>
                <a:cubicBezTo>
                  <a:pt x="0" y="169"/>
                  <a:pt x="19" y="176"/>
                  <a:pt x="25" y="183"/>
                </a:cubicBezTo>
                <a:cubicBezTo>
                  <a:pt x="30" y="190"/>
                  <a:pt x="36" y="206"/>
                  <a:pt x="46" y="223"/>
                </a:cubicBezTo>
                <a:cubicBezTo>
                  <a:pt x="64" y="255"/>
                  <a:pt x="99" y="273"/>
                  <a:pt x="104" y="275"/>
                </a:cubicBezTo>
                <a:cubicBezTo>
                  <a:pt x="104" y="275"/>
                  <a:pt x="74" y="214"/>
                  <a:pt x="55" y="195"/>
                </a:cubicBezTo>
                <a:cubicBezTo>
                  <a:pt x="63" y="202"/>
                  <a:pt x="84" y="221"/>
                  <a:pt x="95" y="242"/>
                </a:cubicBezTo>
                <a:cubicBezTo>
                  <a:pt x="108" y="267"/>
                  <a:pt x="122" y="307"/>
                  <a:pt x="126" y="323"/>
                </a:cubicBezTo>
                <a:cubicBezTo>
                  <a:pt x="129" y="339"/>
                  <a:pt x="133" y="355"/>
                  <a:pt x="133" y="355"/>
                </a:cubicBezTo>
                <a:cubicBezTo>
                  <a:pt x="133" y="355"/>
                  <a:pt x="131" y="292"/>
                  <a:pt x="124" y="262"/>
                </a:cubicBezTo>
                <a:cubicBezTo>
                  <a:pt x="123" y="261"/>
                  <a:pt x="123" y="261"/>
                  <a:pt x="123" y="260"/>
                </a:cubicBezTo>
                <a:cubicBezTo>
                  <a:pt x="126" y="262"/>
                  <a:pt x="128" y="264"/>
                  <a:pt x="129" y="265"/>
                </a:cubicBezTo>
                <a:cubicBezTo>
                  <a:pt x="129" y="265"/>
                  <a:pt x="120" y="220"/>
                  <a:pt x="108" y="192"/>
                </a:cubicBezTo>
                <a:cubicBezTo>
                  <a:pt x="108" y="190"/>
                  <a:pt x="108" y="189"/>
                  <a:pt x="108" y="188"/>
                </a:cubicBezTo>
                <a:cubicBezTo>
                  <a:pt x="112" y="194"/>
                  <a:pt x="118" y="203"/>
                  <a:pt x="122" y="213"/>
                </a:cubicBezTo>
                <a:cubicBezTo>
                  <a:pt x="122" y="216"/>
                  <a:pt x="121" y="218"/>
                  <a:pt x="121" y="219"/>
                </a:cubicBezTo>
                <a:cubicBezTo>
                  <a:pt x="121" y="219"/>
                  <a:pt x="122" y="218"/>
                  <a:pt x="123" y="214"/>
                </a:cubicBezTo>
                <a:cubicBezTo>
                  <a:pt x="125" y="220"/>
                  <a:pt x="127" y="225"/>
                  <a:pt x="128" y="231"/>
                </a:cubicBezTo>
                <a:cubicBezTo>
                  <a:pt x="135" y="257"/>
                  <a:pt x="139" y="298"/>
                  <a:pt x="138" y="315"/>
                </a:cubicBezTo>
                <a:cubicBezTo>
                  <a:pt x="137" y="331"/>
                  <a:pt x="137" y="348"/>
                  <a:pt x="137" y="348"/>
                </a:cubicBezTo>
                <a:cubicBezTo>
                  <a:pt x="137" y="348"/>
                  <a:pt x="139" y="339"/>
                  <a:pt x="141" y="327"/>
                </a:cubicBezTo>
                <a:cubicBezTo>
                  <a:pt x="142" y="342"/>
                  <a:pt x="143" y="353"/>
                  <a:pt x="143" y="353"/>
                </a:cubicBezTo>
                <a:cubicBezTo>
                  <a:pt x="143" y="353"/>
                  <a:pt x="145" y="336"/>
                  <a:pt x="147" y="320"/>
                </a:cubicBezTo>
                <a:cubicBezTo>
                  <a:pt x="149" y="304"/>
                  <a:pt x="159" y="263"/>
                  <a:pt x="169" y="237"/>
                </a:cubicBezTo>
                <a:cubicBezTo>
                  <a:pt x="178" y="216"/>
                  <a:pt x="197" y="195"/>
                  <a:pt x="205" y="188"/>
                </a:cubicBezTo>
                <a:cubicBezTo>
                  <a:pt x="187" y="208"/>
                  <a:pt x="164" y="271"/>
                  <a:pt x="164" y="271"/>
                </a:cubicBezTo>
                <a:cubicBezTo>
                  <a:pt x="168" y="269"/>
                  <a:pt x="202" y="249"/>
                  <a:pt x="216" y="216"/>
                </a:cubicBezTo>
                <a:cubicBezTo>
                  <a:pt x="224" y="198"/>
                  <a:pt x="229" y="182"/>
                  <a:pt x="233" y="174"/>
                </a:cubicBezTo>
                <a:cubicBezTo>
                  <a:pt x="238" y="167"/>
                  <a:pt x="257" y="159"/>
                  <a:pt x="257" y="159"/>
                </a:cubicBezTo>
                <a:cubicBezTo>
                  <a:pt x="236" y="148"/>
                  <a:pt x="203" y="163"/>
                  <a:pt x="185" y="182"/>
                </a:cubicBezTo>
                <a:close/>
                <a:moveTo>
                  <a:pt x="124" y="298"/>
                </a:moveTo>
                <a:cubicBezTo>
                  <a:pt x="124" y="298"/>
                  <a:pt x="111" y="262"/>
                  <a:pt x="107" y="253"/>
                </a:cubicBezTo>
                <a:cubicBezTo>
                  <a:pt x="105" y="250"/>
                  <a:pt x="103" y="243"/>
                  <a:pt x="100" y="235"/>
                </a:cubicBezTo>
                <a:cubicBezTo>
                  <a:pt x="105" y="242"/>
                  <a:pt x="110" y="248"/>
                  <a:pt x="115" y="253"/>
                </a:cubicBezTo>
                <a:cubicBezTo>
                  <a:pt x="121" y="274"/>
                  <a:pt x="124" y="298"/>
                  <a:pt x="124" y="298"/>
                </a:cubicBezTo>
                <a:close/>
                <a:moveTo>
                  <a:pt x="110" y="161"/>
                </a:moveTo>
                <a:cubicBezTo>
                  <a:pt x="112" y="149"/>
                  <a:pt x="114" y="137"/>
                  <a:pt x="113" y="125"/>
                </a:cubicBezTo>
                <a:cubicBezTo>
                  <a:pt x="116" y="138"/>
                  <a:pt x="121" y="160"/>
                  <a:pt x="121" y="171"/>
                </a:cubicBezTo>
                <a:cubicBezTo>
                  <a:pt x="121" y="172"/>
                  <a:pt x="121" y="172"/>
                  <a:pt x="121" y="173"/>
                </a:cubicBezTo>
                <a:cubicBezTo>
                  <a:pt x="118" y="169"/>
                  <a:pt x="114" y="165"/>
                  <a:pt x="110" y="16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defTabSz="914309">
              <a:defRPr/>
            </a:pPr>
            <a:endParaRPr lang="en-US" sz="16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1858" y="1708952"/>
            <a:ext cx="390133" cy="500170"/>
          </a:xfrm>
          <a:prstGeom prst="rect">
            <a:avLst/>
          </a:prstGeom>
        </p:spPr>
      </p:pic>
      <p:sp>
        <p:nvSpPr>
          <p:cNvPr id="19" name="Freeform 14"/>
          <p:cNvSpPr>
            <a:spLocks/>
          </p:cNvSpPr>
          <p:nvPr/>
        </p:nvSpPr>
        <p:spPr bwMode="auto">
          <a:xfrm rot="19824167">
            <a:off x="4413482" y="4610289"/>
            <a:ext cx="275122" cy="380500"/>
          </a:xfrm>
          <a:custGeom>
            <a:avLst/>
            <a:gdLst>
              <a:gd name="T0" fmla="*/ 224 w 230"/>
              <a:gd name="T1" fmla="*/ 175 h 329"/>
              <a:gd name="T2" fmla="*/ 219 w 230"/>
              <a:gd name="T3" fmla="*/ 174 h 329"/>
              <a:gd name="T4" fmla="*/ 148 w 230"/>
              <a:gd name="T5" fmla="*/ 205 h 329"/>
              <a:gd name="T6" fmla="*/ 140 w 230"/>
              <a:gd name="T7" fmla="*/ 237 h 329"/>
              <a:gd name="T8" fmla="*/ 138 w 230"/>
              <a:gd name="T9" fmla="*/ 242 h 329"/>
              <a:gd name="T10" fmla="*/ 134 w 230"/>
              <a:gd name="T11" fmla="*/ 246 h 329"/>
              <a:gd name="T12" fmla="*/ 116 w 230"/>
              <a:gd name="T13" fmla="*/ 270 h 329"/>
              <a:gd name="T14" fmla="*/ 114 w 230"/>
              <a:gd name="T15" fmla="*/ 274 h 329"/>
              <a:gd name="T16" fmla="*/ 111 w 230"/>
              <a:gd name="T17" fmla="*/ 274 h 329"/>
              <a:gd name="T18" fmla="*/ 107 w 230"/>
              <a:gd name="T19" fmla="*/ 203 h 329"/>
              <a:gd name="T20" fmla="*/ 169 w 230"/>
              <a:gd name="T21" fmla="*/ 94 h 329"/>
              <a:gd name="T22" fmla="*/ 137 w 230"/>
              <a:gd name="T23" fmla="*/ 2 h 329"/>
              <a:gd name="T24" fmla="*/ 131 w 230"/>
              <a:gd name="T25" fmla="*/ 3 h 329"/>
              <a:gd name="T26" fmla="*/ 93 w 230"/>
              <a:gd name="T27" fmla="*/ 48 h 329"/>
              <a:gd name="T28" fmla="*/ 57 w 230"/>
              <a:gd name="T29" fmla="*/ 214 h 329"/>
              <a:gd name="T30" fmla="*/ 58 w 230"/>
              <a:gd name="T31" fmla="*/ 215 h 329"/>
              <a:gd name="T32" fmla="*/ 58 w 230"/>
              <a:gd name="T33" fmla="*/ 214 h 329"/>
              <a:gd name="T34" fmla="*/ 58 w 230"/>
              <a:gd name="T35" fmla="*/ 214 h 329"/>
              <a:gd name="T36" fmla="*/ 59 w 230"/>
              <a:gd name="T37" fmla="*/ 210 h 329"/>
              <a:gd name="T38" fmla="*/ 61 w 230"/>
              <a:gd name="T39" fmla="*/ 194 h 329"/>
              <a:gd name="T40" fmla="*/ 72 w 230"/>
              <a:gd name="T41" fmla="*/ 164 h 329"/>
              <a:gd name="T42" fmla="*/ 88 w 230"/>
              <a:gd name="T43" fmla="*/ 138 h 329"/>
              <a:gd name="T44" fmla="*/ 98 w 230"/>
              <a:gd name="T45" fmla="*/ 127 h 329"/>
              <a:gd name="T46" fmla="*/ 107 w 230"/>
              <a:gd name="T47" fmla="*/ 119 h 329"/>
              <a:gd name="T48" fmla="*/ 108 w 230"/>
              <a:gd name="T49" fmla="*/ 119 h 329"/>
              <a:gd name="T50" fmla="*/ 95 w 230"/>
              <a:gd name="T51" fmla="*/ 142 h 329"/>
              <a:gd name="T52" fmla="*/ 91 w 230"/>
              <a:gd name="T53" fmla="*/ 152 h 329"/>
              <a:gd name="T54" fmla="*/ 86 w 230"/>
              <a:gd name="T55" fmla="*/ 162 h 329"/>
              <a:gd name="T56" fmla="*/ 77 w 230"/>
              <a:gd name="T57" fmla="*/ 191 h 329"/>
              <a:gd name="T58" fmla="*/ 74 w 230"/>
              <a:gd name="T59" fmla="*/ 223 h 329"/>
              <a:gd name="T60" fmla="*/ 76 w 230"/>
              <a:gd name="T61" fmla="*/ 239 h 329"/>
              <a:gd name="T62" fmla="*/ 76 w 230"/>
              <a:gd name="T63" fmla="*/ 244 h 329"/>
              <a:gd name="T64" fmla="*/ 77 w 230"/>
              <a:gd name="T65" fmla="*/ 247 h 329"/>
              <a:gd name="T66" fmla="*/ 78 w 230"/>
              <a:gd name="T67" fmla="*/ 255 h 329"/>
              <a:gd name="T68" fmla="*/ 88 w 230"/>
              <a:gd name="T69" fmla="*/ 311 h 329"/>
              <a:gd name="T70" fmla="*/ 88 w 230"/>
              <a:gd name="T71" fmla="*/ 313 h 329"/>
              <a:gd name="T72" fmla="*/ 89 w 230"/>
              <a:gd name="T73" fmla="*/ 321 h 329"/>
              <a:gd name="T74" fmla="*/ 98 w 230"/>
              <a:gd name="T75" fmla="*/ 329 h 329"/>
              <a:gd name="T76" fmla="*/ 117 w 230"/>
              <a:gd name="T77" fmla="*/ 329 h 329"/>
              <a:gd name="T78" fmla="*/ 123 w 230"/>
              <a:gd name="T79" fmla="*/ 326 h 329"/>
              <a:gd name="T80" fmla="*/ 125 w 230"/>
              <a:gd name="T81" fmla="*/ 320 h 329"/>
              <a:gd name="T82" fmla="*/ 126 w 230"/>
              <a:gd name="T83" fmla="*/ 304 h 329"/>
              <a:gd name="T84" fmla="*/ 134 w 230"/>
              <a:gd name="T85" fmla="*/ 280 h 329"/>
              <a:gd name="T86" fmla="*/ 148 w 230"/>
              <a:gd name="T87" fmla="*/ 258 h 329"/>
              <a:gd name="T88" fmla="*/ 151 w 230"/>
              <a:gd name="T89" fmla="*/ 255 h 329"/>
              <a:gd name="T90" fmla="*/ 155 w 230"/>
              <a:gd name="T91" fmla="*/ 253 h 329"/>
              <a:gd name="T92" fmla="*/ 203 w 230"/>
              <a:gd name="T93" fmla="*/ 242 h 329"/>
              <a:gd name="T94" fmla="*/ 224 w 230"/>
              <a:gd name="T95" fmla="*/ 175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30" h="329">
                <a:moveTo>
                  <a:pt x="224" y="175"/>
                </a:moveTo>
                <a:cubicBezTo>
                  <a:pt x="224" y="173"/>
                  <a:pt x="221" y="172"/>
                  <a:pt x="219" y="174"/>
                </a:cubicBezTo>
                <a:cubicBezTo>
                  <a:pt x="203" y="186"/>
                  <a:pt x="162" y="176"/>
                  <a:pt x="148" y="205"/>
                </a:cubicBezTo>
                <a:cubicBezTo>
                  <a:pt x="143" y="215"/>
                  <a:pt x="141" y="228"/>
                  <a:pt x="140" y="237"/>
                </a:cubicBezTo>
                <a:cubicBezTo>
                  <a:pt x="140" y="239"/>
                  <a:pt x="139" y="241"/>
                  <a:pt x="138" y="242"/>
                </a:cubicBezTo>
                <a:cubicBezTo>
                  <a:pt x="137" y="243"/>
                  <a:pt x="135" y="245"/>
                  <a:pt x="134" y="246"/>
                </a:cubicBezTo>
                <a:cubicBezTo>
                  <a:pt x="127" y="254"/>
                  <a:pt x="121" y="262"/>
                  <a:pt x="116" y="270"/>
                </a:cubicBezTo>
                <a:cubicBezTo>
                  <a:pt x="115" y="271"/>
                  <a:pt x="114" y="273"/>
                  <a:pt x="114" y="274"/>
                </a:cubicBezTo>
                <a:cubicBezTo>
                  <a:pt x="113" y="275"/>
                  <a:pt x="112" y="275"/>
                  <a:pt x="111" y="274"/>
                </a:cubicBezTo>
                <a:cubicBezTo>
                  <a:pt x="106" y="261"/>
                  <a:pt x="91" y="226"/>
                  <a:pt x="107" y="203"/>
                </a:cubicBezTo>
                <a:cubicBezTo>
                  <a:pt x="123" y="180"/>
                  <a:pt x="174" y="164"/>
                  <a:pt x="169" y="94"/>
                </a:cubicBezTo>
                <a:cubicBezTo>
                  <a:pt x="166" y="49"/>
                  <a:pt x="146" y="15"/>
                  <a:pt x="137" y="2"/>
                </a:cubicBezTo>
                <a:cubicBezTo>
                  <a:pt x="136" y="0"/>
                  <a:pt x="133" y="0"/>
                  <a:pt x="131" y="3"/>
                </a:cubicBezTo>
                <a:cubicBezTo>
                  <a:pt x="126" y="12"/>
                  <a:pt x="113" y="33"/>
                  <a:pt x="93" y="48"/>
                </a:cubicBezTo>
                <a:cubicBezTo>
                  <a:pt x="75" y="63"/>
                  <a:pt x="0" y="113"/>
                  <a:pt x="57" y="214"/>
                </a:cubicBezTo>
                <a:cubicBezTo>
                  <a:pt x="57" y="215"/>
                  <a:pt x="57" y="215"/>
                  <a:pt x="58" y="215"/>
                </a:cubicBezTo>
                <a:cubicBezTo>
                  <a:pt x="58" y="215"/>
                  <a:pt x="58" y="214"/>
                  <a:pt x="58" y="214"/>
                </a:cubicBezTo>
                <a:cubicBezTo>
                  <a:pt x="58" y="214"/>
                  <a:pt x="58" y="214"/>
                  <a:pt x="58" y="214"/>
                </a:cubicBezTo>
                <a:cubicBezTo>
                  <a:pt x="58" y="213"/>
                  <a:pt x="59" y="211"/>
                  <a:pt x="59" y="210"/>
                </a:cubicBezTo>
                <a:cubicBezTo>
                  <a:pt x="59" y="205"/>
                  <a:pt x="60" y="199"/>
                  <a:pt x="61" y="194"/>
                </a:cubicBezTo>
                <a:cubicBezTo>
                  <a:pt x="64" y="184"/>
                  <a:pt x="67" y="174"/>
                  <a:pt x="72" y="164"/>
                </a:cubicBezTo>
                <a:cubicBezTo>
                  <a:pt x="77" y="155"/>
                  <a:pt x="82" y="146"/>
                  <a:pt x="88" y="138"/>
                </a:cubicBezTo>
                <a:cubicBezTo>
                  <a:pt x="92" y="134"/>
                  <a:pt x="95" y="131"/>
                  <a:pt x="98" y="127"/>
                </a:cubicBezTo>
                <a:cubicBezTo>
                  <a:pt x="101" y="124"/>
                  <a:pt x="104" y="121"/>
                  <a:pt x="107" y="119"/>
                </a:cubicBezTo>
                <a:cubicBezTo>
                  <a:pt x="108" y="118"/>
                  <a:pt x="108" y="119"/>
                  <a:pt x="108" y="119"/>
                </a:cubicBezTo>
                <a:cubicBezTo>
                  <a:pt x="103" y="127"/>
                  <a:pt x="99" y="134"/>
                  <a:pt x="95" y="142"/>
                </a:cubicBezTo>
                <a:cubicBezTo>
                  <a:pt x="93" y="146"/>
                  <a:pt x="92" y="149"/>
                  <a:pt x="91" y="152"/>
                </a:cubicBezTo>
                <a:cubicBezTo>
                  <a:pt x="89" y="155"/>
                  <a:pt x="88" y="158"/>
                  <a:pt x="86" y="162"/>
                </a:cubicBezTo>
                <a:cubicBezTo>
                  <a:pt x="82" y="171"/>
                  <a:pt x="79" y="181"/>
                  <a:pt x="77" y="191"/>
                </a:cubicBezTo>
                <a:cubicBezTo>
                  <a:pt x="75" y="202"/>
                  <a:pt x="74" y="212"/>
                  <a:pt x="74" y="223"/>
                </a:cubicBezTo>
                <a:cubicBezTo>
                  <a:pt x="74" y="229"/>
                  <a:pt x="75" y="234"/>
                  <a:pt x="76" y="239"/>
                </a:cubicBezTo>
                <a:cubicBezTo>
                  <a:pt x="76" y="241"/>
                  <a:pt x="76" y="243"/>
                  <a:pt x="76" y="244"/>
                </a:cubicBezTo>
                <a:cubicBezTo>
                  <a:pt x="77" y="245"/>
                  <a:pt x="77" y="246"/>
                  <a:pt x="77" y="247"/>
                </a:cubicBezTo>
                <a:cubicBezTo>
                  <a:pt x="78" y="255"/>
                  <a:pt x="78" y="255"/>
                  <a:pt x="78" y="255"/>
                </a:cubicBezTo>
                <a:cubicBezTo>
                  <a:pt x="82" y="273"/>
                  <a:pt x="85" y="292"/>
                  <a:pt x="88" y="311"/>
                </a:cubicBezTo>
                <a:cubicBezTo>
                  <a:pt x="88" y="311"/>
                  <a:pt x="88" y="312"/>
                  <a:pt x="88" y="313"/>
                </a:cubicBezTo>
                <a:cubicBezTo>
                  <a:pt x="88" y="315"/>
                  <a:pt x="89" y="318"/>
                  <a:pt x="89" y="321"/>
                </a:cubicBezTo>
                <a:cubicBezTo>
                  <a:pt x="89" y="326"/>
                  <a:pt x="93" y="329"/>
                  <a:pt x="98" y="329"/>
                </a:cubicBezTo>
                <a:cubicBezTo>
                  <a:pt x="117" y="329"/>
                  <a:pt x="117" y="329"/>
                  <a:pt x="117" y="329"/>
                </a:cubicBezTo>
                <a:cubicBezTo>
                  <a:pt x="119" y="329"/>
                  <a:pt x="121" y="328"/>
                  <a:pt x="123" y="326"/>
                </a:cubicBezTo>
                <a:cubicBezTo>
                  <a:pt x="125" y="325"/>
                  <a:pt x="125" y="322"/>
                  <a:pt x="125" y="320"/>
                </a:cubicBezTo>
                <a:cubicBezTo>
                  <a:pt x="125" y="315"/>
                  <a:pt x="125" y="310"/>
                  <a:pt x="126" y="304"/>
                </a:cubicBezTo>
                <a:cubicBezTo>
                  <a:pt x="127" y="296"/>
                  <a:pt x="130" y="288"/>
                  <a:pt x="134" y="280"/>
                </a:cubicBezTo>
                <a:cubicBezTo>
                  <a:pt x="138" y="272"/>
                  <a:pt x="142" y="265"/>
                  <a:pt x="148" y="258"/>
                </a:cubicBezTo>
                <a:cubicBezTo>
                  <a:pt x="149" y="257"/>
                  <a:pt x="150" y="256"/>
                  <a:pt x="151" y="255"/>
                </a:cubicBezTo>
                <a:cubicBezTo>
                  <a:pt x="152" y="253"/>
                  <a:pt x="154" y="253"/>
                  <a:pt x="155" y="253"/>
                </a:cubicBezTo>
                <a:cubicBezTo>
                  <a:pt x="170" y="253"/>
                  <a:pt x="187" y="252"/>
                  <a:pt x="203" y="242"/>
                </a:cubicBezTo>
                <a:cubicBezTo>
                  <a:pt x="230" y="225"/>
                  <a:pt x="227" y="189"/>
                  <a:pt x="224" y="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defTabSz="914309">
              <a:defRPr/>
            </a:pPr>
            <a:endParaRPr lang="en-US" sz="16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2" name="Picture 124" descr="Farmer_Silhouette.png"/>
          <p:cNvPicPr>
            <a:picLocks noChangeAspect="1"/>
          </p:cNvPicPr>
          <p:nvPr/>
        </p:nvPicPr>
        <p:blipFill rotWithShape="1"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937" t="-19964" r="-104372" b="-764"/>
          <a:stretch/>
        </p:blipFill>
        <p:spPr bwMode="auto">
          <a:xfrm>
            <a:off x="2805312" y="2368254"/>
            <a:ext cx="2113187" cy="2113187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15"/>
          <p:cNvSpPr txBox="1">
            <a:spLocks noChangeArrowheads="1"/>
          </p:cNvSpPr>
          <p:nvPr/>
        </p:nvSpPr>
        <p:spPr bwMode="auto">
          <a:xfrm>
            <a:off x="3586565" y="2576703"/>
            <a:ext cx="1082286" cy="49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01" tIns="60950" rIns="121901" bIns="6095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309" eaLnBrk="1" hangingPunct="1">
              <a:defRPr/>
            </a:pPr>
            <a:r>
              <a:rPr lang="en-US" alt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grower makes</a:t>
            </a:r>
          </a:p>
        </p:txBody>
      </p:sp>
      <p:sp>
        <p:nvSpPr>
          <p:cNvPr id="24" name="TextBox 15"/>
          <p:cNvSpPr txBox="1">
            <a:spLocks noChangeArrowheads="1"/>
          </p:cNvSpPr>
          <p:nvPr/>
        </p:nvSpPr>
        <p:spPr bwMode="auto">
          <a:xfrm>
            <a:off x="3586565" y="3358164"/>
            <a:ext cx="1525696" cy="677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01" tIns="60950" rIns="121901" bIns="6095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309" eaLnBrk="1" hangingPunct="1">
              <a:defRPr/>
            </a:pPr>
            <a:r>
              <a:rPr lang="en-US" altLang="en-US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 decisions each growing season</a:t>
            </a:r>
          </a:p>
        </p:txBody>
      </p:sp>
      <p:sp>
        <p:nvSpPr>
          <p:cNvPr id="25" name="TextBox 15"/>
          <p:cNvSpPr txBox="1">
            <a:spLocks noChangeArrowheads="1"/>
          </p:cNvSpPr>
          <p:nvPr/>
        </p:nvSpPr>
        <p:spPr bwMode="auto">
          <a:xfrm>
            <a:off x="3524716" y="2959257"/>
            <a:ext cx="1149633" cy="49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01" tIns="60950" rIns="121901" bIns="6095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309" eaLnBrk="1" hangingPunct="1">
              <a:defRPr/>
            </a:pPr>
            <a:r>
              <a:rPr lang="en-US" altLang="en-US" sz="2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0</a:t>
            </a:r>
            <a:r>
              <a:rPr lang="en-US" altLang="en-US" sz="2000" b="1" baseline="20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</a:t>
            </a:r>
            <a:r>
              <a:rPr lang="en-US" altLang="en-US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altLang="en-US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692978" y="1585071"/>
            <a:ext cx="1077399" cy="5102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09">
              <a:lnSpc>
                <a:spcPct val="97000"/>
              </a:lnSpc>
              <a:defRPr/>
            </a:pPr>
            <a:r>
              <a:rPr lang="en-GB" sz="1400" b="1" kern="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RMER </a:t>
            </a:r>
            <a:br>
              <a:rPr lang="en-GB" sz="1400" b="1" kern="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400" b="1" kern="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ED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199089" y="514032"/>
            <a:ext cx="222849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09">
              <a:defRPr/>
            </a:pPr>
            <a:r>
              <a:rPr lang="en-US" altLang="en-US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yer Crop Sciences</a:t>
            </a:r>
            <a:br>
              <a:rPr lang="en-US" altLang="en-US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altLang="en-US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OLOGIES</a:t>
            </a:r>
          </a:p>
        </p:txBody>
      </p:sp>
      <p:sp>
        <p:nvSpPr>
          <p:cNvPr id="29" name="Isosceles Triangle 28"/>
          <p:cNvSpPr/>
          <p:nvPr/>
        </p:nvSpPr>
        <p:spPr>
          <a:xfrm rot="16200000">
            <a:off x="4060516" y="621615"/>
            <a:ext cx="209099" cy="13714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ctr" defTabSz="914309">
              <a:defRPr/>
            </a:pPr>
            <a:endParaRPr lang="en-US" sz="1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Isosceles Triangle 29"/>
          <p:cNvSpPr/>
          <p:nvPr/>
        </p:nvSpPr>
        <p:spPr>
          <a:xfrm rot="16200000">
            <a:off x="4559728" y="1677927"/>
            <a:ext cx="209099" cy="137142"/>
          </a:xfrm>
          <a:prstGeom prst="triangle">
            <a:avLst/>
          </a:prstGeom>
          <a:solidFill>
            <a:srgbClr val="84C7DA"/>
          </a:soli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ctr" defTabSz="914309">
              <a:defRPr/>
            </a:pPr>
            <a:endParaRPr lang="en-US" sz="1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 rot="20127976">
            <a:off x="1768330" y="757896"/>
            <a:ext cx="2277864" cy="879394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Up">
              <a:avLst/>
            </a:prstTxWarp>
            <a:spAutoFit/>
          </a:bodyPr>
          <a:lstStyle/>
          <a:p>
            <a:pPr algn="ctr" defTabSz="1219048">
              <a:lnSpc>
                <a:spcPct val="90000"/>
              </a:lnSpc>
              <a:defRPr/>
            </a:pPr>
            <a:r>
              <a:rPr lang="en-US" sz="1200" kern="0" cap="all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p Protection</a:t>
            </a:r>
          </a:p>
        </p:txBody>
      </p:sp>
      <p:sp>
        <p:nvSpPr>
          <p:cNvPr id="59" name="TextBox 58"/>
          <p:cNvSpPr txBox="1"/>
          <p:nvPr/>
        </p:nvSpPr>
        <p:spPr>
          <a:xfrm rot="17007976">
            <a:off x="351782" y="2404496"/>
            <a:ext cx="2277864" cy="779856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Up">
              <a:avLst/>
            </a:prstTxWarp>
            <a:spAutoFit/>
          </a:bodyPr>
          <a:lstStyle/>
          <a:p>
            <a:pPr algn="ctr" defTabSz="1219048">
              <a:lnSpc>
                <a:spcPct val="90000"/>
              </a:lnSpc>
              <a:defRPr/>
            </a:pPr>
            <a:r>
              <a:rPr lang="en-US" sz="1200" kern="0" cap="all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t Biotechnology</a:t>
            </a:r>
          </a:p>
        </p:txBody>
      </p:sp>
      <p:sp>
        <p:nvSpPr>
          <p:cNvPr id="60" name="TextBox 59"/>
          <p:cNvSpPr txBox="1"/>
          <p:nvPr/>
        </p:nvSpPr>
        <p:spPr>
          <a:xfrm rot="3027976">
            <a:off x="787693" y="4649001"/>
            <a:ext cx="2277864" cy="779856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Down">
              <a:avLst/>
            </a:prstTxWarp>
            <a:spAutoFit/>
          </a:bodyPr>
          <a:lstStyle/>
          <a:p>
            <a:pPr algn="ctr" defTabSz="1219048">
              <a:lnSpc>
                <a:spcPct val="90000"/>
              </a:lnSpc>
              <a:defRPr/>
            </a:pPr>
            <a:r>
              <a:rPr lang="en-US" sz="1200" kern="0" cap="all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AL ADVISORS</a:t>
            </a:r>
          </a:p>
        </p:txBody>
      </p:sp>
      <p:sp>
        <p:nvSpPr>
          <p:cNvPr id="61" name="TextBox 60"/>
          <p:cNvSpPr txBox="1"/>
          <p:nvPr/>
        </p:nvSpPr>
        <p:spPr>
          <a:xfrm rot="207976">
            <a:off x="2688311" y="5568631"/>
            <a:ext cx="2277864" cy="779856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Down">
              <a:avLst/>
            </a:prstTxWarp>
            <a:spAutoFit/>
          </a:bodyPr>
          <a:lstStyle/>
          <a:p>
            <a:pPr algn="ctr" defTabSz="1219048">
              <a:lnSpc>
                <a:spcPct val="90000"/>
              </a:lnSpc>
              <a:defRPr/>
            </a:pPr>
            <a:r>
              <a:rPr lang="en-US" sz="1200" kern="0" cap="all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t Breeding</a:t>
            </a:r>
          </a:p>
        </p:txBody>
      </p:sp>
      <p:sp>
        <p:nvSpPr>
          <p:cNvPr id="62" name="TextBox 61"/>
          <p:cNvSpPr txBox="1"/>
          <p:nvPr/>
        </p:nvSpPr>
        <p:spPr>
          <a:xfrm rot="18451465">
            <a:off x="4685952" y="4653584"/>
            <a:ext cx="2277864" cy="779856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Down">
              <a:avLst/>
            </a:prstTxWarp>
            <a:spAutoFit/>
          </a:bodyPr>
          <a:lstStyle/>
          <a:p>
            <a:pPr algn="ctr" defTabSz="1219048">
              <a:lnSpc>
                <a:spcPct val="90000"/>
              </a:lnSpc>
              <a:defRPr/>
            </a:pPr>
            <a:r>
              <a:rPr lang="en-US" sz="1200" kern="0" cap="all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 Biological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030D82A-6877-4477-AD99-40C47781181B}"/>
              </a:ext>
            </a:extLst>
          </p:cNvPr>
          <p:cNvGrpSpPr/>
          <p:nvPr/>
        </p:nvGrpSpPr>
        <p:grpSpPr>
          <a:xfrm>
            <a:off x="8177935" y="26992"/>
            <a:ext cx="3450451" cy="1822790"/>
            <a:chOff x="8112864" y="4675557"/>
            <a:chExt cx="3450899" cy="1823029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EA2A997E-D839-4EEC-9DCE-98F0D3B209AC}"/>
                </a:ext>
              </a:extLst>
            </p:cNvPr>
            <p:cNvSpPr txBox="1"/>
            <p:nvPr/>
          </p:nvSpPr>
          <p:spPr>
            <a:xfrm>
              <a:off x="8182062" y="6269986"/>
              <a:ext cx="3316147" cy="228600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914309">
                <a:defRPr/>
              </a:pPr>
              <a:r>
                <a:rPr lang="en-US" sz="1200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igh Yield, Data-Driven Ag, Insect, Weed and Disease Control, Ag Biologicals 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E8EA1B96-887B-492A-94F1-66D24C10DED3}"/>
                </a:ext>
              </a:extLst>
            </p:cNvPr>
            <p:cNvSpPr/>
            <p:nvPr/>
          </p:nvSpPr>
          <p:spPr>
            <a:xfrm>
              <a:off x="8116508" y="4675557"/>
              <a:ext cx="3447255" cy="40011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pPr algn="ctr" defTabSz="914309">
                <a:defRPr/>
              </a:pPr>
              <a:r>
                <a:rPr lang="en-US" sz="200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etter Lives</a:t>
              </a: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1F29BAE-0FD8-468F-B84D-FB510AA86B24}"/>
                </a:ext>
              </a:extLst>
            </p:cNvPr>
            <p:cNvGrpSpPr/>
            <p:nvPr/>
          </p:nvGrpSpPr>
          <p:grpSpPr>
            <a:xfrm>
              <a:off x="8112864" y="5238595"/>
              <a:ext cx="3449648" cy="1015332"/>
              <a:chOff x="16327766" y="746707"/>
              <a:chExt cx="3449648" cy="1015332"/>
            </a:xfrm>
            <a:effectLst/>
          </p:grpSpPr>
          <p:pic>
            <p:nvPicPr>
              <p:cNvPr id="57" name="Picture 2" descr="Zero Hunger">
                <a:extLst>
                  <a:ext uri="{FF2B5EF4-FFF2-40B4-BE49-F238E27FC236}">
                    <a16:creationId xmlns:a16="http://schemas.microsoft.com/office/drawing/2014/main" id="{A235D44A-D844-42B5-AD8E-CE5286511D2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551602" y="755169"/>
                <a:ext cx="1006870" cy="10068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5" name="Picture 4" descr="No Poverty">
                <a:extLst>
                  <a:ext uri="{FF2B5EF4-FFF2-40B4-BE49-F238E27FC236}">
                    <a16:creationId xmlns:a16="http://schemas.microsoft.com/office/drawing/2014/main" id="{40EE6986-4F2A-4FD0-9D01-D82859BB28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327766" y="746707"/>
                <a:ext cx="1006870" cy="1006870"/>
              </a:xfrm>
              <a:prstGeom prst="rect">
                <a:avLst/>
              </a:prstGeom>
              <a:noFill/>
              <a:ln w="38100"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6" name="Picture 6" descr="Decent work and economic growth">
                <a:extLst>
                  <a:ext uri="{FF2B5EF4-FFF2-40B4-BE49-F238E27FC236}">
                    <a16:creationId xmlns:a16="http://schemas.microsoft.com/office/drawing/2014/main" id="{E56105EE-217A-4B79-AC8A-40EE8C2014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770544" y="755169"/>
                <a:ext cx="1006870" cy="10068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EC5C95E-F6CB-420B-ADAE-D80C2A65C906}"/>
              </a:ext>
            </a:extLst>
          </p:cNvPr>
          <p:cNvGrpSpPr/>
          <p:nvPr/>
        </p:nvGrpSpPr>
        <p:grpSpPr>
          <a:xfrm>
            <a:off x="8160914" y="4685233"/>
            <a:ext cx="3484478" cy="1879353"/>
            <a:chOff x="8097669" y="2539127"/>
            <a:chExt cx="3484932" cy="1879600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DADA660-27E6-48FF-819B-92CF89F5860F}"/>
                </a:ext>
              </a:extLst>
            </p:cNvPr>
            <p:cNvSpPr txBox="1"/>
            <p:nvPr/>
          </p:nvSpPr>
          <p:spPr>
            <a:xfrm>
              <a:off x="8097669" y="4190127"/>
              <a:ext cx="3484932" cy="228600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914309">
                <a:defRPr/>
              </a:pPr>
              <a:r>
                <a:rPr lang="en-US" sz="1200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sect, Weed and Disease Control, Stress Tolerance, Digital Ag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419356B-A13E-40C8-821C-46059D36C35E}"/>
                </a:ext>
              </a:extLst>
            </p:cNvPr>
            <p:cNvSpPr/>
            <p:nvPr/>
          </p:nvSpPr>
          <p:spPr>
            <a:xfrm>
              <a:off x="8116508" y="2539127"/>
              <a:ext cx="3447255" cy="40011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pPr algn="ctr" defTabSz="914309">
                <a:defRPr/>
              </a:pPr>
              <a:r>
                <a:rPr lang="en-US" sz="200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etter Partner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D5AC5D4C-0855-43EC-9899-15CDCB7277EB}"/>
                </a:ext>
              </a:extLst>
            </p:cNvPr>
            <p:cNvGrpSpPr/>
            <p:nvPr/>
          </p:nvGrpSpPr>
          <p:grpSpPr>
            <a:xfrm>
              <a:off x="8117759" y="3110627"/>
              <a:ext cx="3444753" cy="1005840"/>
              <a:chOff x="12361697" y="758296"/>
              <a:chExt cx="3444753" cy="1005840"/>
            </a:xfrm>
            <a:effectLst/>
          </p:grpSpPr>
          <p:pic>
            <p:nvPicPr>
              <p:cNvPr id="87" name="Picture 8" descr="Industry, innovation and infrastructure">
                <a:extLst>
                  <a:ext uri="{FF2B5EF4-FFF2-40B4-BE49-F238E27FC236}">
                    <a16:creationId xmlns:a16="http://schemas.microsoft.com/office/drawing/2014/main" id="{61D46F5F-E523-49EF-9F6A-94FDE466D8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61697" y="758296"/>
                <a:ext cx="1005840" cy="10058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8" name="Picture 10" descr="Responsible consumption and production">
                <a:extLst>
                  <a:ext uri="{FF2B5EF4-FFF2-40B4-BE49-F238E27FC236}">
                    <a16:creationId xmlns:a16="http://schemas.microsoft.com/office/drawing/2014/main" id="{4727E9D1-9593-40B9-AA57-35D71994E8B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81153" y="758296"/>
                <a:ext cx="1005840" cy="10058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9" name="Picture 12" descr="Partnerships for the goals">
                <a:extLst>
                  <a:ext uri="{FF2B5EF4-FFF2-40B4-BE49-F238E27FC236}">
                    <a16:creationId xmlns:a16="http://schemas.microsoft.com/office/drawing/2014/main" id="{0337E842-4397-4DA1-8E8E-9A41D7E7A1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800610" y="758296"/>
                <a:ext cx="1005840" cy="1005840"/>
              </a:xfrm>
              <a:prstGeom prst="rect">
                <a:avLst/>
              </a:prstGeom>
              <a:noFill/>
              <a:ln w="38100"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07ACDD2-2718-4EF9-94F7-96810111C693}"/>
              </a:ext>
            </a:extLst>
          </p:cNvPr>
          <p:cNvGrpSpPr/>
          <p:nvPr/>
        </p:nvGrpSpPr>
        <p:grpSpPr>
          <a:xfrm>
            <a:off x="8160914" y="2412510"/>
            <a:ext cx="3484478" cy="1891864"/>
            <a:chOff x="8149016" y="2381900"/>
            <a:chExt cx="3484932" cy="1892112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02D3FCCC-5CFE-4AAC-A8C9-CF6B87209929}"/>
                </a:ext>
              </a:extLst>
            </p:cNvPr>
            <p:cNvSpPr txBox="1"/>
            <p:nvPr/>
          </p:nvSpPr>
          <p:spPr>
            <a:xfrm>
              <a:off x="8149016" y="4045412"/>
              <a:ext cx="3484932" cy="228600"/>
            </a:xfrm>
            <a:prstGeom prst="rect">
              <a:avLst/>
            </a:prstGeom>
            <a:noFill/>
          </p:spPr>
          <p:txBody>
            <a:bodyPr wrap="square" lIns="0" rIns="0" rtlCol="0">
              <a:noAutofit/>
            </a:bodyPr>
            <a:lstStyle/>
            <a:p>
              <a:pPr algn="ctr" defTabSz="914309">
                <a:defRPr/>
              </a:pPr>
              <a:r>
                <a:rPr lang="en-US" sz="1200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sect Control, Stress Tolerance, Seed Treatments, Digital Ag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5B9CC4A-9929-4760-BCA2-96CB70C6DA0B}"/>
                </a:ext>
              </a:extLst>
            </p:cNvPr>
            <p:cNvGrpSpPr/>
            <p:nvPr/>
          </p:nvGrpSpPr>
          <p:grpSpPr>
            <a:xfrm>
              <a:off x="8169106" y="2948952"/>
              <a:ext cx="3444753" cy="1016919"/>
              <a:chOff x="8390734" y="741336"/>
              <a:chExt cx="3444753" cy="1016919"/>
            </a:xfrm>
            <a:effectLst/>
          </p:grpSpPr>
          <p:pic>
            <p:nvPicPr>
              <p:cNvPr id="90" name="Picture 14" descr="Clean water and sanitation">
                <a:extLst>
                  <a:ext uri="{FF2B5EF4-FFF2-40B4-BE49-F238E27FC236}">
                    <a16:creationId xmlns:a16="http://schemas.microsoft.com/office/drawing/2014/main" id="{CF1C2391-C2D2-4D94-80C5-459619FEF7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90734" y="758296"/>
                <a:ext cx="999959" cy="9999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1" name="Picture 16" descr="Climate Action">
                <a:extLst>
                  <a:ext uri="{FF2B5EF4-FFF2-40B4-BE49-F238E27FC236}">
                    <a16:creationId xmlns:a16="http://schemas.microsoft.com/office/drawing/2014/main" id="{ECDFCD32-A78F-4055-87A0-9319F03CFD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13131" y="758296"/>
                <a:ext cx="999959" cy="9999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2" name="Picture 18" descr="Life on land">
                <a:extLst>
                  <a:ext uri="{FF2B5EF4-FFF2-40B4-BE49-F238E27FC236}">
                    <a16:creationId xmlns:a16="http://schemas.microsoft.com/office/drawing/2014/main" id="{9BF10EB7-F078-4DB2-AAED-A7076FD92CE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35528" y="758296"/>
                <a:ext cx="999959" cy="9999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8" name="Picture 14" descr="Clean water and sanitation">
                <a:extLst>
                  <a:ext uri="{FF2B5EF4-FFF2-40B4-BE49-F238E27FC236}">
                    <a16:creationId xmlns:a16="http://schemas.microsoft.com/office/drawing/2014/main" id="{D4051D92-D173-448C-A719-FD2F9761995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90734" y="741336"/>
                <a:ext cx="999959" cy="9999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2834074-1330-48FB-9CF0-E80D807C9915}"/>
                </a:ext>
              </a:extLst>
            </p:cNvPr>
            <p:cNvSpPr/>
            <p:nvPr/>
          </p:nvSpPr>
          <p:spPr>
            <a:xfrm>
              <a:off x="8166604" y="2381900"/>
              <a:ext cx="3447255" cy="40011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pPr algn="ctr" defTabSz="914309">
                <a:defRPr/>
              </a:pPr>
              <a:r>
                <a:rPr lang="en-US" sz="200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etter Planet</a:t>
              </a:r>
            </a:p>
          </p:txBody>
        </p: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A321AEF9-CB8E-41E2-A617-0D34FEF427F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130282">
            <a:off x="2423649" y="687745"/>
            <a:ext cx="789368" cy="672756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5868CF21-4D52-42CB-9F14-4A5498F9C19B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973074">
            <a:off x="1194046" y="2483315"/>
            <a:ext cx="588233" cy="713923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171887F5-704D-43DF-B744-59F32C180114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603721">
            <a:off x="5465395" y="4709387"/>
            <a:ext cx="703401" cy="703401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A62D6FDE-6AEB-4503-B00F-5306E0AEB5EB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105477">
            <a:off x="1604939" y="4811635"/>
            <a:ext cx="636688" cy="429765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2512B9E5-60E7-4FEB-8C35-BCD96D776EB6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74175">
            <a:off x="3578985" y="5751010"/>
            <a:ext cx="540672" cy="478194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7F809525-7144-44FB-9622-14B70FF8A80E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118679">
            <a:off x="2804732" y="4295291"/>
            <a:ext cx="917269" cy="91726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318F0BD-87F8-4CF9-AB17-195261302F0B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screen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8553998">
            <a:off x="2584290" y="2291146"/>
            <a:ext cx="370406" cy="370406"/>
          </a:xfrm>
          <a:prstGeom prst="rect">
            <a:avLst/>
          </a:prstGeom>
        </p:spPr>
      </p:pic>
      <p:sp>
        <p:nvSpPr>
          <p:cNvPr id="63" name="Slide Number Placeholder 37">
            <a:extLst>
              <a:ext uri="{FF2B5EF4-FFF2-40B4-BE49-F238E27FC236}">
                <a16:creationId xmlns:a16="http://schemas.microsoft.com/office/drawing/2014/main" id="{576C4902-53AE-4F48-A7C0-0A7ED3CE548E}"/>
              </a:ext>
            </a:extLst>
          </p:cNvPr>
          <p:cNvSpPr txBox="1">
            <a:spLocks/>
          </p:cNvSpPr>
          <p:nvPr/>
        </p:nvSpPr>
        <p:spPr>
          <a:xfrm>
            <a:off x="11523815" y="6439435"/>
            <a:ext cx="611508" cy="365077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i="0" kern="1200">
                <a:solidFill>
                  <a:schemeClr val="bg1">
                    <a:lumMod val="50000"/>
                  </a:schemeClr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9">
              <a:defRPr/>
            </a:pPr>
            <a:fld id="{931A03C5-5930-E349-9014-4F3746B6D744}" type="slidenum">
              <a:rPr lang="en-US">
                <a:solidFill>
                  <a:srgbClr val="FFFFFF"/>
                </a:solidFill>
              </a:rPr>
              <a:pPr defTabSz="914309">
                <a:defRPr/>
              </a:pPr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4" name="Freeform 83">
            <a:extLst>
              <a:ext uri="{FF2B5EF4-FFF2-40B4-BE49-F238E27FC236}">
                <a16:creationId xmlns:a16="http://schemas.microsoft.com/office/drawing/2014/main" id="{E9A2B972-A385-40C8-B24A-05A2DB6FB40C}"/>
              </a:ext>
            </a:extLst>
          </p:cNvPr>
          <p:cNvSpPr/>
          <p:nvPr/>
        </p:nvSpPr>
        <p:spPr>
          <a:xfrm>
            <a:off x="-507804" y="-860054"/>
            <a:ext cx="8589883" cy="8594098"/>
          </a:xfrm>
          <a:custGeom>
            <a:avLst/>
            <a:gdLst>
              <a:gd name="connsiteX0" fmla="*/ 3075389 w 6032217"/>
              <a:gd name="connsiteY0" fmla="*/ 0 h 6150778"/>
              <a:gd name="connsiteX1" fmla="*/ 3216053 w 6032217"/>
              <a:gd name="connsiteY1" fmla="*/ 3557 h 6150778"/>
              <a:gd name="connsiteX2" fmla="*/ 3012330 w 6032217"/>
              <a:gd name="connsiteY2" fmla="*/ 837378 h 6150778"/>
              <a:gd name="connsiteX3" fmla="*/ 2863418 w 6032217"/>
              <a:gd name="connsiteY3" fmla="*/ 844898 h 6150778"/>
              <a:gd name="connsiteX4" fmla="*/ 845353 w 6032217"/>
              <a:gd name="connsiteY4" fmla="*/ 3081192 h 6150778"/>
              <a:gd name="connsiteX5" fmla="*/ 3093253 w 6032217"/>
              <a:gd name="connsiteY5" fmla="*/ 5329091 h 6150778"/>
              <a:gd name="connsiteX6" fmla="*/ 5240092 w 6032217"/>
              <a:gd name="connsiteY6" fmla="*/ 3749648 h 6150778"/>
              <a:gd name="connsiteX7" fmla="*/ 5248094 w 6032217"/>
              <a:gd name="connsiteY7" fmla="*/ 3718523 h 6150778"/>
              <a:gd name="connsiteX8" fmla="*/ 6032217 w 6032217"/>
              <a:gd name="connsiteY8" fmla="*/ 3913292 h 6150778"/>
              <a:gd name="connsiteX9" fmla="*/ 6012515 w 6032217"/>
              <a:gd name="connsiteY9" fmla="*/ 3989916 h 6150778"/>
              <a:gd name="connsiteX10" fmla="*/ 3075389 w 6032217"/>
              <a:gd name="connsiteY10" fmla="*/ 6150778 h 6150778"/>
              <a:gd name="connsiteX11" fmla="*/ 0 w 6032217"/>
              <a:gd name="connsiteY11" fmla="*/ 3075389 h 6150778"/>
              <a:gd name="connsiteX12" fmla="*/ 3075389 w 6032217"/>
              <a:gd name="connsiteY12" fmla="*/ 0 h 6150778"/>
              <a:gd name="connsiteX0" fmla="*/ 3075389 w 6032217"/>
              <a:gd name="connsiteY0" fmla="*/ 0 h 6150778"/>
              <a:gd name="connsiteX1" fmla="*/ 3216053 w 6032217"/>
              <a:gd name="connsiteY1" fmla="*/ 3557 h 6150778"/>
              <a:gd name="connsiteX2" fmla="*/ 3068601 w 6032217"/>
              <a:gd name="connsiteY2" fmla="*/ 837378 h 6150778"/>
              <a:gd name="connsiteX3" fmla="*/ 2863418 w 6032217"/>
              <a:gd name="connsiteY3" fmla="*/ 844898 h 6150778"/>
              <a:gd name="connsiteX4" fmla="*/ 845353 w 6032217"/>
              <a:gd name="connsiteY4" fmla="*/ 3081192 h 6150778"/>
              <a:gd name="connsiteX5" fmla="*/ 3093253 w 6032217"/>
              <a:gd name="connsiteY5" fmla="*/ 5329091 h 6150778"/>
              <a:gd name="connsiteX6" fmla="*/ 5240092 w 6032217"/>
              <a:gd name="connsiteY6" fmla="*/ 3749648 h 6150778"/>
              <a:gd name="connsiteX7" fmla="*/ 5248094 w 6032217"/>
              <a:gd name="connsiteY7" fmla="*/ 3718523 h 6150778"/>
              <a:gd name="connsiteX8" fmla="*/ 6032217 w 6032217"/>
              <a:gd name="connsiteY8" fmla="*/ 3913292 h 6150778"/>
              <a:gd name="connsiteX9" fmla="*/ 6012515 w 6032217"/>
              <a:gd name="connsiteY9" fmla="*/ 3989916 h 6150778"/>
              <a:gd name="connsiteX10" fmla="*/ 3075389 w 6032217"/>
              <a:gd name="connsiteY10" fmla="*/ 6150778 h 6150778"/>
              <a:gd name="connsiteX11" fmla="*/ 0 w 6032217"/>
              <a:gd name="connsiteY11" fmla="*/ 3075389 h 6150778"/>
              <a:gd name="connsiteX12" fmla="*/ 3075389 w 6032217"/>
              <a:gd name="connsiteY12" fmla="*/ 0 h 6150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32217" h="6150778">
                <a:moveTo>
                  <a:pt x="3075389" y="0"/>
                </a:moveTo>
                <a:lnTo>
                  <a:pt x="3216053" y="3557"/>
                </a:lnTo>
                <a:lnTo>
                  <a:pt x="3068601" y="837378"/>
                </a:lnTo>
                <a:cubicBezTo>
                  <a:pt x="3018964" y="839885"/>
                  <a:pt x="2913055" y="842391"/>
                  <a:pt x="2863418" y="844898"/>
                </a:cubicBezTo>
                <a:cubicBezTo>
                  <a:pt x="1729901" y="960012"/>
                  <a:pt x="845352" y="1917303"/>
                  <a:pt x="845353" y="3081192"/>
                </a:cubicBezTo>
                <a:cubicBezTo>
                  <a:pt x="845352" y="4322673"/>
                  <a:pt x="1851771" y="5329091"/>
                  <a:pt x="3093253" y="5329091"/>
                </a:cubicBezTo>
                <a:cubicBezTo>
                  <a:pt x="4101956" y="5329092"/>
                  <a:pt x="4955482" y="4664698"/>
                  <a:pt x="5240092" y="3749648"/>
                </a:cubicBezTo>
                <a:lnTo>
                  <a:pt x="5248094" y="3718523"/>
                </a:lnTo>
                <a:lnTo>
                  <a:pt x="6032217" y="3913292"/>
                </a:lnTo>
                <a:lnTo>
                  <a:pt x="6012515" y="3989916"/>
                </a:lnTo>
                <a:cubicBezTo>
                  <a:pt x="5623135" y="5241810"/>
                  <a:pt x="4455412" y="6150778"/>
                  <a:pt x="3075389" y="6150778"/>
                </a:cubicBezTo>
                <a:cubicBezTo>
                  <a:pt x="1376899" y="6150778"/>
                  <a:pt x="0" y="4773879"/>
                  <a:pt x="0" y="3075389"/>
                </a:cubicBezTo>
                <a:cubicBezTo>
                  <a:pt x="0" y="1376899"/>
                  <a:pt x="1376899" y="0"/>
                  <a:pt x="3075389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ctr" defTabSz="914309">
              <a:defRPr/>
            </a:pPr>
            <a:endParaRPr lang="en-US" sz="1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738A2A40-BCAB-45A9-BB1A-2A14F5BE6F0A}"/>
              </a:ext>
            </a:extLst>
          </p:cNvPr>
          <p:cNvSpPr txBox="1"/>
          <p:nvPr/>
        </p:nvSpPr>
        <p:spPr>
          <a:xfrm rot="3420829">
            <a:off x="-300882" y="4854962"/>
            <a:ext cx="2782743" cy="638448"/>
          </a:xfrm>
          <a:prstGeom prst="rect">
            <a:avLst/>
          </a:prstGeom>
          <a:noFill/>
        </p:spPr>
        <p:txBody>
          <a:bodyPr spcFirstLastPara="1" wrap="none" lIns="121901" tIns="60950" rIns="121901" bIns="60950" numCol="1" rtlCol="0">
            <a:prstTxWarp prst="textArchDown">
              <a:avLst>
                <a:gd name="adj" fmla="val 650685"/>
              </a:avLst>
            </a:prstTxWarp>
            <a:spAutoFit/>
          </a:bodyPr>
          <a:lstStyle/>
          <a:p>
            <a:pPr algn="ctr" defTabSz="1219048">
              <a:lnSpc>
                <a:spcPct val="90000"/>
              </a:lnSpc>
              <a:defRPr/>
            </a:pPr>
            <a:r>
              <a:rPr lang="en-US" b="1" kern="0" cap="all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TIFICIAL INTELLIGENCE</a:t>
            </a:r>
          </a:p>
        </p:txBody>
      </p:sp>
      <p:sp>
        <p:nvSpPr>
          <p:cNvPr id="65" name="Footer Placeholder 40">
            <a:extLst>
              <a:ext uri="{FF2B5EF4-FFF2-40B4-BE49-F238E27FC236}">
                <a16:creationId xmlns:a16="http://schemas.microsoft.com/office/drawing/2014/main" id="{D8E55F27-F3FB-5D45-92FC-6E8E225B69F8}"/>
              </a:ext>
            </a:extLst>
          </p:cNvPr>
          <p:cNvSpPr txBox="1">
            <a:spLocks/>
          </p:cNvSpPr>
          <p:nvPr/>
        </p:nvSpPr>
        <p:spPr>
          <a:xfrm>
            <a:off x="975466" y="6626322"/>
            <a:ext cx="8640000" cy="108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Bay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98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EAE211C-CC66-B645-AD18-8EEE82884E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62" y="0"/>
            <a:ext cx="12189790" cy="71417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5906A41-2D9E-064A-AB10-A87870D45B22}"/>
              </a:ext>
            </a:extLst>
          </p:cNvPr>
          <p:cNvSpPr/>
          <p:nvPr/>
        </p:nvSpPr>
        <p:spPr>
          <a:xfrm>
            <a:off x="0" y="0"/>
            <a:ext cx="12210452" cy="7121896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</a:ln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</a:bodyPr>
          <a:lstStyle/>
          <a:p>
            <a:pPr algn="ctr" defTabSz="914309">
              <a:defRPr/>
            </a:pPr>
            <a:endParaRPr lang="en-US" sz="1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0BB1EC-DC45-F84D-B0BB-CB0C13919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A03C5-5930-E349-9014-4F3746B6D74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48" name="Picture 247">
            <a:extLst>
              <a:ext uri="{FF2B5EF4-FFF2-40B4-BE49-F238E27FC236}">
                <a16:creationId xmlns:a16="http://schemas.microsoft.com/office/drawing/2014/main" id="{249C822B-AE06-AA41-88D7-6BC33A224F7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9" t="10128" r="7379" b="8345"/>
          <a:stretch/>
        </p:blipFill>
        <p:spPr>
          <a:xfrm>
            <a:off x="4974336" y="1975658"/>
            <a:ext cx="7369004" cy="3408269"/>
          </a:xfrm>
          <a:prstGeom prst="rect">
            <a:avLst/>
          </a:prstGeom>
        </p:spPr>
      </p:pic>
      <p:sp>
        <p:nvSpPr>
          <p:cNvPr id="249" name="Title 13">
            <a:extLst>
              <a:ext uri="{FF2B5EF4-FFF2-40B4-BE49-F238E27FC236}">
                <a16:creationId xmlns:a16="http://schemas.microsoft.com/office/drawing/2014/main" id="{710184E0-EF6C-CC43-98BB-BDEB1A0BA7A0}"/>
              </a:ext>
            </a:extLst>
          </p:cNvPr>
          <p:cNvSpPr txBox="1">
            <a:spLocks/>
          </p:cNvSpPr>
          <p:nvPr/>
        </p:nvSpPr>
        <p:spPr>
          <a:xfrm>
            <a:off x="392057" y="447829"/>
            <a:ext cx="10406063" cy="108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cs typeface="Al Bayan Plain" pitchFamily="2" charset="-78"/>
              </a:rPr>
              <a:t>Data Science Community at Bayer Crop Science</a:t>
            </a:r>
          </a:p>
        </p:txBody>
      </p:sp>
      <p:sp>
        <p:nvSpPr>
          <p:cNvPr id="254" name="Content Placeholder 15">
            <a:extLst>
              <a:ext uri="{FF2B5EF4-FFF2-40B4-BE49-F238E27FC236}">
                <a16:creationId xmlns:a16="http://schemas.microsoft.com/office/drawing/2014/main" id="{858AE592-86FC-C14F-9776-2AC3E5680426}"/>
              </a:ext>
            </a:extLst>
          </p:cNvPr>
          <p:cNvSpPr txBox="1">
            <a:spLocks/>
          </p:cNvSpPr>
          <p:nvPr/>
        </p:nvSpPr>
        <p:spPr>
          <a:xfrm>
            <a:off x="588246" y="1932026"/>
            <a:ext cx="5114054" cy="428170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cs typeface="Al Bayan Plain" pitchFamily="2" charset="-78"/>
              </a:rPr>
              <a:t>500 + strong across the globe and grow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cs typeface="Al Bayan Plain" pitchFamily="2" charset="-78"/>
              </a:rPr>
              <a:t>&gt; 75 % Domino Adop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cs typeface="Al Bayan Plain" pitchFamily="2" charset="-78"/>
              </a:rPr>
              <a:t>Cross-functional collaborations </a:t>
            </a:r>
            <a:r>
              <a:rPr lang="en-US" sz="2800" dirty="0">
                <a:solidFill>
                  <a:schemeClr val="bg1"/>
                </a:solidFill>
              </a:rPr>
              <a:t>to improve &gt;100 deci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384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>
            <a:extLst>
              <a:ext uri="{FF2B5EF4-FFF2-40B4-BE49-F238E27FC236}">
                <a16:creationId xmlns:a16="http://schemas.microsoft.com/office/drawing/2014/main" id="{E088E714-FE8A-944C-8BCA-605EC1B1315D}"/>
              </a:ext>
            </a:extLst>
          </p:cNvPr>
          <p:cNvSpPr/>
          <p:nvPr/>
        </p:nvSpPr>
        <p:spPr>
          <a:xfrm>
            <a:off x="8805798" y="-450937"/>
            <a:ext cx="2783238" cy="749510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500474-1971-C64D-B6AA-E92216E89C9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682" y="7044172"/>
            <a:ext cx="449263" cy="239713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146DCEB-363F-6043-99BB-B2AD1EDEB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l Bayan Plain" pitchFamily="2" charset="-78"/>
              </a:rPr>
              <a:t>Use case : </a:t>
            </a:r>
            <a:r>
              <a:rPr lang="en-US" dirty="0"/>
              <a:t>Smarter Production Decisions ​</a:t>
            </a:r>
            <a:endParaRPr lang="en-US" dirty="0">
              <a:cs typeface="Al Bayan Plain" pitchFamily="2" charset="-78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9E14A19-021D-6B44-AE8E-EB5B454EF5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735" y="1494421"/>
            <a:ext cx="10373645" cy="4281709"/>
          </a:xfrm>
        </p:spPr>
        <p:txBody>
          <a:bodyPr/>
          <a:lstStyle/>
          <a:p>
            <a:r>
              <a:rPr lang="en-US" sz="2800" b="1" dirty="0">
                <a:cs typeface="Al Bayan Plain" pitchFamily="2" charset="-78"/>
              </a:rPr>
              <a:t>Problem at hand </a:t>
            </a:r>
          </a:p>
          <a:p>
            <a:pPr marL="0" indent="0">
              <a:buNone/>
            </a:pPr>
            <a:endParaRPr lang="en-US" b="1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4DBCA30-A110-B043-92B3-9C0A08DD24E7}"/>
              </a:ext>
            </a:extLst>
          </p:cNvPr>
          <p:cNvSpPr/>
          <p:nvPr/>
        </p:nvSpPr>
        <p:spPr>
          <a:xfrm>
            <a:off x="1223912" y="5631470"/>
            <a:ext cx="1868696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roduction Planning </a:t>
            </a:r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07624613-7CCA-5E46-BBBD-9AF3F6EA1CE8}"/>
              </a:ext>
            </a:extLst>
          </p:cNvPr>
          <p:cNvSpPr/>
          <p:nvPr/>
        </p:nvSpPr>
        <p:spPr>
          <a:xfrm>
            <a:off x="6344949" y="4116167"/>
            <a:ext cx="2298004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rocessing &amp; Finishing</a:t>
            </a: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2366D79A-8C70-A74B-829D-8BDCC48BF0AA}"/>
              </a:ext>
            </a:extLst>
          </p:cNvPr>
          <p:cNvSpPr/>
          <p:nvPr/>
        </p:nvSpPr>
        <p:spPr>
          <a:xfrm>
            <a:off x="3627389" y="4820060"/>
            <a:ext cx="2277637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lanting &amp; Harvesting</a:t>
            </a: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CCB9AB04-E235-FA4A-873D-57DF49CA74BF}"/>
              </a:ext>
            </a:extLst>
          </p:cNvPr>
          <p:cNvSpPr/>
          <p:nvPr/>
        </p:nvSpPr>
        <p:spPr>
          <a:xfrm>
            <a:off x="9092298" y="3278057"/>
            <a:ext cx="2281336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erformance Evaluation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3856E0A-0DD5-C24D-A5F3-1FCE1E605D49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7612" y="3088708"/>
            <a:ext cx="1957193" cy="1565754"/>
          </a:xfrm>
          <a:prstGeom prst="roundRect">
            <a:avLst>
              <a:gd name="adj" fmla="val 3680"/>
            </a:avLst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3FE8044-A143-FE4D-AD41-474609DDC940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9"/>
          <a:stretch/>
        </p:blipFill>
        <p:spPr>
          <a:xfrm>
            <a:off x="6486334" y="2305831"/>
            <a:ext cx="1957193" cy="1565754"/>
          </a:xfrm>
          <a:prstGeom prst="roundRect">
            <a:avLst>
              <a:gd name="adj" fmla="val 3691"/>
            </a:avLst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19A9265A-532C-A149-8F45-762C242BDC45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5056" y="1494421"/>
            <a:ext cx="1957193" cy="1565754"/>
          </a:xfrm>
          <a:prstGeom prst="roundRect">
            <a:avLst>
              <a:gd name="adj" fmla="val 5096"/>
            </a:avLst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59" name="Picture 58" descr="MicroLocations.jpeg">
            <a:extLst>
              <a:ext uri="{FF2B5EF4-FFF2-40B4-BE49-F238E27FC236}">
                <a16:creationId xmlns:a16="http://schemas.microsoft.com/office/drawing/2014/main" id="{6BC571CC-9057-1444-A004-6A6C0A1DDD9F}"/>
              </a:ext>
            </a:extLst>
          </p:cNvPr>
          <p:cNvPicPr>
            <a:picLocks/>
          </p:cNvPicPr>
          <p:nvPr/>
        </p:nvPicPr>
        <p:blipFill>
          <a:blip r:embed="rId5" cstate="print"/>
          <a:srcRect l="23438" t="28125" r="12500" b="21875"/>
          <a:stretch>
            <a:fillRect/>
          </a:stretch>
        </p:blipFill>
        <p:spPr>
          <a:xfrm>
            <a:off x="1137401" y="3847834"/>
            <a:ext cx="1957193" cy="1565754"/>
          </a:xfrm>
          <a:prstGeom prst="roundRect">
            <a:avLst>
              <a:gd name="adj" fmla="val 3379"/>
            </a:avLst>
          </a:prstGeom>
          <a:ln w="12700">
            <a:solidFill>
              <a:schemeClr val="bg2">
                <a:lumMod val="25000"/>
              </a:schemeClr>
            </a:solidFill>
          </a:ln>
        </p:spPr>
      </p:pic>
      <p:sp>
        <p:nvSpPr>
          <p:cNvPr id="61" name="Left Arrow 60">
            <a:extLst>
              <a:ext uri="{FF2B5EF4-FFF2-40B4-BE49-F238E27FC236}">
                <a16:creationId xmlns:a16="http://schemas.microsoft.com/office/drawing/2014/main" id="{A6EC23C3-9EE0-824D-8A04-325514A5126E}"/>
              </a:ext>
            </a:extLst>
          </p:cNvPr>
          <p:cNvSpPr/>
          <p:nvPr/>
        </p:nvSpPr>
        <p:spPr>
          <a:xfrm rot="9234477">
            <a:off x="3181756" y="3824861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Left Arrow 61">
            <a:extLst>
              <a:ext uri="{FF2B5EF4-FFF2-40B4-BE49-F238E27FC236}">
                <a16:creationId xmlns:a16="http://schemas.microsoft.com/office/drawing/2014/main" id="{38F91A93-DA87-5E43-8F77-D1B01B9891F0}"/>
              </a:ext>
            </a:extLst>
          </p:cNvPr>
          <p:cNvSpPr/>
          <p:nvPr/>
        </p:nvSpPr>
        <p:spPr>
          <a:xfrm rot="9234477">
            <a:off x="5871934" y="2925509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Left Arrow 62">
            <a:extLst>
              <a:ext uri="{FF2B5EF4-FFF2-40B4-BE49-F238E27FC236}">
                <a16:creationId xmlns:a16="http://schemas.microsoft.com/office/drawing/2014/main" id="{EDEF1681-5FEF-0845-B1B2-18AB4602A22C}"/>
              </a:ext>
            </a:extLst>
          </p:cNvPr>
          <p:cNvSpPr/>
          <p:nvPr/>
        </p:nvSpPr>
        <p:spPr>
          <a:xfrm rot="9234477">
            <a:off x="8517003" y="1979890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1" name="Elbow Connector 70">
            <a:extLst>
              <a:ext uri="{FF2B5EF4-FFF2-40B4-BE49-F238E27FC236}">
                <a16:creationId xmlns:a16="http://schemas.microsoft.com/office/drawing/2014/main" id="{815198FE-560F-6440-8ABD-FCC7BF3252CE}"/>
              </a:ext>
            </a:extLst>
          </p:cNvPr>
          <p:cNvCxnSpPr>
            <a:cxnSpLocks/>
          </p:cNvCxnSpPr>
          <p:nvPr/>
        </p:nvCxnSpPr>
        <p:spPr>
          <a:xfrm rot="10800000" flipV="1">
            <a:off x="3787613" y="3945698"/>
            <a:ext cx="6471205" cy="2015284"/>
          </a:xfrm>
          <a:prstGeom prst="bentConnector3">
            <a:avLst>
              <a:gd name="adj1" fmla="val 60"/>
            </a:avLst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Left Arrow 74">
            <a:extLst>
              <a:ext uri="{FF2B5EF4-FFF2-40B4-BE49-F238E27FC236}">
                <a16:creationId xmlns:a16="http://schemas.microsoft.com/office/drawing/2014/main" id="{5BD1CA1C-ADA7-1745-B07E-0C117518DDBD}"/>
              </a:ext>
            </a:extLst>
          </p:cNvPr>
          <p:cNvSpPr/>
          <p:nvPr/>
        </p:nvSpPr>
        <p:spPr>
          <a:xfrm>
            <a:off x="3172516" y="5725670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Left Arrow 77">
            <a:extLst>
              <a:ext uri="{FF2B5EF4-FFF2-40B4-BE49-F238E27FC236}">
                <a16:creationId xmlns:a16="http://schemas.microsoft.com/office/drawing/2014/main" id="{834F837A-BD1E-6543-AB71-6AD5EAAD9654}"/>
              </a:ext>
            </a:extLst>
          </p:cNvPr>
          <p:cNvSpPr/>
          <p:nvPr/>
        </p:nvSpPr>
        <p:spPr>
          <a:xfrm rot="16200000">
            <a:off x="9958193" y="3986058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22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75" grpId="0" animBg="1"/>
      <p:bldP spid="7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>
            <a:extLst>
              <a:ext uri="{FF2B5EF4-FFF2-40B4-BE49-F238E27FC236}">
                <a16:creationId xmlns:a16="http://schemas.microsoft.com/office/drawing/2014/main" id="{E088E714-FE8A-944C-8BCA-605EC1B1315D}"/>
              </a:ext>
            </a:extLst>
          </p:cNvPr>
          <p:cNvSpPr/>
          <p:nvPr/>
        </p:nvSpPr>
        <p:spPr>
          <a:xfrm>
            <a:off x="8789904" y="-345573"/>
            <a:ext cx="2783238" cy="749510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500474-1971-C64D-B6AA-E92216E89C9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682" y="7044172"/>
            <a:ext cx="449263" cy="239713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146DCEB-363F-6043-99BB-B2AD1EDEB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l Bayan Plain" pitchFamily="2" charset="-78"/>
              </a:rPr>
              <a:t>Use case : </a:t>
            </a:r>
            <a:r>
              <a:rPr lang="en-US" dirty="0"/>
              <a:t>Smarter Production Decisions</a:t>
            </a:r>
            <a:endParaRPr lang="en-US" dirty="0">
              <a:cs typeface="Al Bayan Plain" pitchFamily="2" charset="-78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9E14A19-021D-6B44-AE8E-EB5B454EF5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735" y="1494421"/>
            <a:ext cx="10373645" cy="4281709"/>
          </a:xfrm>
        </p:spPr>
        <p:txBody>
          <a:bodyPr/>
          <a:lstStyle/>
          <a:p>
            <a:r>
              <a:rPr lang="en-US" sz="2800" b="1" dirty="0">
                <a:cs typeface="Al Bayan Plain" pitchFamily="2" charset="-78"/>
              </a:rPr>
              <a:t>Problem at hand </a:t>
            </a:r>
          </a:p>
          <a:p>
            <a:pPr marL="0" indent="0">
              <a:buNone/>
            </a:pPr>
            <a:endParaRPr lang="en-US" b="1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4DBCA30-A110-B043-92B3-9C0A08DD24E7}"/>
              </a:ext>
            </a:extLst>
          </p:cNvPr>
          <p:cNvSpPr/>
          <p:nvPr/>
        </p:nvSpPr>
        <p:spPr>
          <a:xfrm>
            <a:off x="1223912" y="5631470"/>
            <a:ext cx="1868696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roduction Planning </a:t>
            </a:r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07624613-7CCA-5E46-BBBD-9AF3F6EA1CE8}"/>
              </a:ext>
            </a:extLst>
          </p:cNvPr>
          <p:cNvSpPr/>
          <p:nvPr/>
        </p:nvSpPr>
        <p:spPr>
          <a:xfrm>
            <a:off x="6344949" y="4116167"/>
            <a:ext cx="2298004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rocessing &amp; Finishing</a:t>
            </a: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2366D79A-8C70-A74B-829D-8BDCC48BF0AA}"/>
              </a:ext>
            </a:extLst>
          </p:cNvPr>
          <p:cNvSpPr/>
          <p:nvPr/>
        </p:nvSpPr>
        <p:spPr>
          <a:xfrm>
            <a:off x="3627389" y="4820060"/>
            <a:ext cx="2277637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lanting &amp; Harvesting</a:t>
            </a: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CCB9AB04-E235-FA4A-873D-57DF49CA74BF}"/>
              </a:ext>
            </a:extLst>
          </p:cNvPr>
          <p:cNvSpPr/>
          <p:nvPr/>
        </p:nvSpPr>
        <p:spPr>
          <a:xfrm>
            <a:off x="9092298" y="3278057"/>
            <a:ext cx="2281336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erformance Evaluation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3856E0A-0DD5-C24D-A5F3-1FCE1E605D49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7612" y="3088708"/>
            <a:ext cx="1957193" cy="1565754"/>
          </a:xfrm>
          <a:prstGeom prst="roundRect">
            <a:avLst>
              <a:gd name="adj" fmla="val 3680"/>
            </a:avLst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3FE8044-A143-FE4D-AD41-474609DDC940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9"/>
          <a:stretch/>
        </p:blipFill>
        <p:spPr>
          <a:xfrm>
            <a:off x="6486334" y="2305831"/>
            <a:ext cx="1957193" cy="1565754"/>
          </a:xfrm>
          <a:prstGeom prst="roundRect">
            <a:avLst>
              <a:gd name="adj" fmla="val 3691"/>
            </a:avLst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19A9265A-532C-A149-8F45-762C242BDC45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5056" y="1494421"/>
            <a:ext cx="1957193" cy="1565754"/>
          </a:xfrm>
          <a:prstGeom prst="roundRect">
            <a:avLst>
              <a:gd name="adj" fmla="val 5096"/>
            </a:avLst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59" name="Picture 58" descr="MicroLocations.jpeg">
            <a:extLst>
              <a:ext uri="{FF2B5EF4-FFF2-40B4-BE49-F238E27FC236}">
                <a16:creationId xmlns:a16="http://schemas.microsoft.com/office/drawing/2014/main" id="{6BC571CC-9057-1444-A004-6A6C0A1DDD9F}"/>
              </a:ext>
            </a:extLst>
          </p:cNvPr>
          <p:cNvPicPr>
            <a:picLocks/>
          </p:cNvPicPr>
          <p:nvPr/>
        </p:nvPicPr>
        <p:blipFill>
          <a:blip r:embed="rId5" cstate="print"/>
          <a:srcRect l="23438" t="28125" r="12500" b="21875"/>
          <a:stretch>
            <a:fillRect/>
          </a:stretch>
        </p:blipFill>
        <p:spPr>
          <a:xfrm>
            <a:off x="1137401" y="3847834"/>
            <a:ext cx="1957193" cy="1565754"/>
          </a:xfrm>
          <a:prstGeom prst="roundRect">
            <a:avLst>
              <a:gd name="adj" fmla="val 3379"/>
            </a:avLst>
          </a:prstGeom>
          <a:ln w="12700">
            <a:solidFill>
              <a:schemeClr val="bg2">
                <a:lumMod val="25000"/>
              </a:schemeClr>
            </a:solidFill>
          </a:ln>
        </p:spPr>
      </p:pic>
      <p:sp>
        <p:nvSpPr>
          <p:cNvPr id="61" name="Left Arrow 60">
            <a:extLst>
              <a:ext uri="{FF2B5EF4-FFF2-40B4-BE49-F238E27FC236}">
                <a16:creationId xmlns:a16="http://schemas.microsoft.com/office/drawing/2014/main" id="{A6EC23C3-9EE0-824D-8A04-325514A5126E}"/>
              </a:ext>
            </a:extLst>
          </p:cNvPr>
          <p:cNvSpPr/>
          <p:nvPr/>
        </p:nvSpPr>
        <p:spPr>
          <a:xfrm rot="9234477">
            <a:off x="3181756" y="3824861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Left Arrow 61">
            <a:extLst>
              <a:ext uri="{FF2B5EF4-FFF2-40B4-BE49-F238E27FC236}">
                <a16:creationId xmlns:a16="http://schemas.microsoft.com/office/drawing/2014/main" id="{38F91A93-DA87-5E43-8F77-D1B01B9891F0}"/>
              </a:ext>
            </a:extLst>
          </p:cNvPr>
          <p:cNvSpPr/>
          <p:nvPr/>
        </p:nvSpPr>
        <p:spPr>
          <a:xfrm rot="9234477">
            <a:off x="5871934" y="2925509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Left Arrow 62">
            <a:extLst>
              <a:ext uri="{FF2B5EF4-FFF2-40B4-BE49-F238E27FC236}">
                <a16:creationId xmlns:a16="http://schemas.microsoft.com/office/drawing/2014/main" id="{EDEF1681-5FEF-0845-B1B2-18AB4602A22C}"/>
              </a:ext>
            </a:extLst>
          </p:cNvPr>
          <p:cNvSpPr/>
          <p:nvPr/>
        </p:nvSpPr>
        <p:spPr>
          <a:xfrm rot="9234477">
            <a:off x="8517003" y="1979890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1" name="Elbow Connector 70">
            <a:extLst>
              <a:ext uri="{FF2B5EF4-FFF2-40B4-BE49-F238E27FC236}">
                <a16:creationId xmlns:a16="http://schemas.microsoft.com/office/drawing/2014/main" id="{815198FE-560F-6440-8ABD-FCC7BF3252CE}"/>
              </a:ext>
            </a:extLst>
          </p:cNvPr>
          <p:cNvCxnSpPr>
            <a:cxnSpLocks/>
          </p:cNvCxnSpPr>
          <p:nvPr/>
        </p:nvCxnSpPr>
        <p:spPr>
          <a:xfrm rot="10800000" flipV="1">
            <a:off x="3787613" y="3945698"/>
            <a:ext cx="6471205" cy="2015284"/>
          </a:xfrm>
          <a:prstGeom prst="bentConnector3">
            <a:avLst>
              <a:gd name="adj1" fmla="val 60"/>
            </a:avLst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Left Arrow 74">
            <a:extLst>
              <a:ext uri="{FF2B5EF4-FFF2-40B4-BE49-F238E27FC236}">
                <a16:creationId xmlns:a16="http://schemas.microsoft.com/office/drawing/2014/main" id="{5BD1CA1C-ADA7-1745-B07E-0C117518DDBD}"/>
              </a:ext>
            </a:extLst>
          </p:cNvPr>
          <p:cNvSpPr/>
          <p:nvPr/>
        </p:nvSpPr>
        <p:spPr>
          <a:xfrm>
            <a:off x="3172516" y="5725670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Left Arrow 77">
            <a:extLst>
              <a:ext uri="{FF2B5EF4-FFF2-40B4-BE49-F238E27FC236}">
                <a16:creationId xmlns:a16="http://schemas.microsoft.com/office/drawing/2014/main" id="{834F837A-BD1E-6543-AB71-6AD5EAAD9654}"/>
              </a:ext>
            </a:extLst>
          </p:cNvPr>
          <p:cNvSpPr/>
          <p:nvPr/>
        </p:nvSpPr>
        <p:spPr>
          <a:xfrm rot="16200000">
            <a:off x="9958193" y="3986058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CCA5AEC-51E2-A742-9FD7-CF325BB7E8B3}"/>
              </a:ext>
            </a:extLst>
          </p:cNvPr>
          <p:cNvGrpSpPr/>
          <p:nvPr/>
        </p:nvGrpSpPr>
        <p:grpSpPr>
          <a:xfrm>
            <a:off x="8706296" y="4201478"/>
            <a:ext cx="3399407" cy="593528"/>
            <a:chOff x="8701190" y="4528960"/>
            <a:chExt cx="3399407" cy="593528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56E7F325-52F9-D448-A944-66B58CFCFBB3}"/>
                </a:ext>
              </a:extLst>
            </p:cNvPr>
            <p:cNvSpPr/>
            <p:nvPr/>
          </p:nvSpPr>
          <p:spPr>
            <a:xfrm>
              <a:off x="8701190" y="4528960"/>
              <a:ext cx="3399407" cy="593528"/>
            </a:xfrm>
            <a:custGeom>
              <a:avLst/>
              <a:gdLst>
                <a:gd name="connsiteX0" fmla="*/ 0 w 1088246"/>
                <a:gd name="connsiteY0" fmla="*/ 37581 h 375808"/>
                <a:gd name="connsiteX1" fmla="*/ 37581 w 1088246"/>
                <a:gd name="connsiteY1" fmla="*/ 0 h 375808"/>
                <a:gd name="connsiteX2" fmla="*/ 1050665 w 1088246"/>
                <a:gd name="connsiteY2" fmla="*/ 0 h 375808"/>
                <a:gd name="connsiteX3" fmla="*/ 1088246 w 1088246"/>
                <a:gd name="connsiteY3" fmla="*/ 37581 h 375808"/>
                <a:gd name="connsiteX4" fmla="*/ 1088246 w 1088246"/>
                <a:gd name="connsiteY4" fmla="*/ 338227 h 375808"/>
                <a:gd name="connsiteX5" fmla="*/ 1050665 w 1088246"/>
                <a:gd name="connsiteY5" fmla="*/ 375808 h 375808"/>
                <a:gd name="connsiteX6" fmla="*/ 37581 w 1088246"/>
                <a:gd name="connsiteY6" fmla="*/ 375808 h 375808"/>
                <a:gd name="connsiteX7" fmla="*/ 0 w 1088246"/>
                <a:gd name="connsiteY7" fmla="*/ 338227 h 375808"/>
                <a:gd name="connsiteX8" fmla="*/ 0 w 1088246"/>
                <a:gd name="connsiteY8" fmla="*/ 37581 h 37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8246" h="375808">
                  <a:moveTo>
                    <a:pt x="0" y="37581"/>
                  </a:moveTo>
                  <a:cubicBezTo>
                    <a:pt x="0" y="16826"/>
                    <a:pt x="16826" y="0"/>
                    <a:pt x="37581" y="0"/>
                  </a:cubicBezTo>
                  <a:lnTo>
                    <a:pt x="1050665" y="0"/>
                  </a:lnTo>
                  <a:cubicBezTo>
                    <a:pt x="1071420" y="0"/>
                    <a:pt x="1088246" y="16826"/>
                    <a:pt x="1088246" y="37581"/>
                  </a:cubicBezTo>
                  <a:lnTo>
                    <a:pt x="1088246" y="338227"/>
                  </a:lnTo>
                  <a:cubicBezTo>
                    <a:pt x="1088246" y="358982"/>
                    <a:pt x="1071420" y="375808"/>
                    <a:pt x="1050665" y="375808"/>
                  </a:cubicBezTo>
                  <a:lnTo>
                    <a:pt x="37581" y="375808"/>
                  </a:lnTo>
                  <a:cubicBezTo>
                    <a:pt x="16826" y="375808"/>
                    <a:pt x="0" y="358982"/>
                    <a:pt x="0" y="338227"/>
                  </a:cubicBezTo>
                  <a:lnTo>
                    <a:pt x="0" y="37581"/>
                  </a:lnTo>
                  <a:close/>
                </a:path>
              </a:pathLst>
            </a:custGeom>
            <a:solidFill>
              <a:schemeClr val="bg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347" tIns="64347" rIns="64347" bIns="64347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dirty="0">
                  <a:solidFill>
                    <a:schemeClr val="tx1"/>
                  </a:solidFill>
                </a:rPr>
                <a:t>Relied on manual files</a:t>
              </a:r>
            </a:p>
          </p:txBody>
        </p:sp>
        <p:pic>
          <p:nvPicPr>
            <p:cNvPr id="20" name="Graphic 19" descr="Confused Face with No Fill">
              <a:extLst>
                <a:ext uri="{FF2B5EF4-FFF2-40B4-BE49-F238E27FC236}">
                  <a16:creationId xmlns:a16="http://schemas.microsoft.com/office/drawing/2014/main" id="{E69EFA25-153D-ED4D-A6B7-D89529776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801162" y="4607547"/>
              <a:ext cx="449759" cy="449759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4061439-1F4E-1E47-98C3-1366FED11C59}"/>
              </a:ext>
            </a:extLst>
          </p:cNvPr>
          <p:cNvGrpSpPr/>
          <p:nvPr/>
        </p:nvGrpSpPr>
        <p:grpSpPr>
          <a:xfrm>
            <a:off x="8691720" y="4991906"/>
            <a:ext cx="3399407" cy="593528"/>
            <a:chOff x="8628442" y="5353071"/>
            <a:chExt cx="3399407" cy="593528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89B98651-D805-D44B-8A90-9019B04DDC2E}"/>
                </a:ext>
              </a:extLst>
            </p:cNvPr>
            <p:cNvSpPr/>
            <p:nvPr/>
          </p:nvSpPr>
          <p:spPr>
            <a:xfrm>
              <a:off x="8628442" y="5353071"/>
              <a:ext cx="3399407" cy="593528"/>
            </a:xfrm>
            <a:custGeom>
              <a:avLst/>
              <a:gdLst>
                <a:gd name="connsiteX0" fmla="*/ 0 w 1088246"/>
                <a:gd name="connsiteY0" fmla="*/ 37581 h 375808"/>
                <a:gd name="connsiteX1" fmla="*/ 37581 w 1088246"/>
                <a:gd name="connsiteY1" fmla="*/ 0 h 375808"/>
                <a:gd name="connsiteX2" fmla="*/ 1050665 w 1088246"/>
                <a:gd name="connsiteY2" fmla="*/ 0 h 375808"/>
                <a:gd name="connsiteX3" fmla="*/ 1088246 w 1088246"/>
                <a:gd name="connsiteY3" fmla="*/ 37581 h 375808"/>
                <a:gd name="connsiteX4" fmla="*/ 1088246 w 1088246"/>
                <a:gd name="connsiteY4" fmla="*/ 338227 h 375808"/>
                <a:gd name="connsiteX5" fmla="*/ 1050665 w 1088246"/>
                <a:gd name="connsiteY5" fmla="*/ 375808 h 375808"/>
                <a:gd name="connsiteX6" fmla="*/ 37581 w 1088246"/>
                <a:gd name="connsiteY6" fmla="*/ 375808 h 375808"/>
                <a:gd name="connsiteX7" fmla="*/ 0 w 1088246"/>
                <a:gd name="connsiteY7" fmla="*/ 338227 h 375808"/>
                <a:gd name="connsiteX8" fmla="*/ 0 w 1088246"/>
                <a:gd name="connsiteY8" fmla="*/ 37581 h 37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8246" h="375808">
                  <a:moveTo>
                    <a:pt x="0" y="37581"/>
                  </a:moveTo>
                  <a:cubicBezTo>
                    <a:pt x="0" y="16826"/>
                    <a:pt x="16826" y="0"/>
                    <a:pt x="37581" y="0"/>
                  </a:cubicBezTo>
                  <a:lnTo>
                    <a:pt x="1050665" y="0"/>
                  </a:lnTo>
                  <a:cubicBezTo>
                    <a:pt x="1071420" y="0"/>
                    <a:pt x="1088246" y="16826"/>
                    <a:pt x="1088246" y="37581"/>
                  </a:cubicBezTo>
                  <a:lnTo>
                    <a:pt x="1088246" y="338227"/>
                  </a:lnTo>
                  <a:cubicBezTo>
                    <a:pt x="1088246" y="358982"/>
                    <a:pt x="1071420" y="375808"/>
                    <a:pt x="1050665" y="375808"/>
                  </a:cubicBezTo>
                  <a:lnTo>
                    <a:pt x="37581" y="375808"/>
                  </a:lnTo>
                  <a:cubicBezTo>
                    <a:pt x="16826" y="375808"/>
                    <a:pt x="0" y="358982"/>
                    <a:pt x="0" y="338227"/>
                  </a:cubicBezTo>
                  <a:lnTo>
                    <a:pt x="0" y="37581"/>
                  </a:lnTo>
                  <a:close/>
                </a:path>
              </a:pathLst>
            </a:custGeom>
            <a:solidFill>
              <a:schemeClr val="bg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347" tIns="64347" rIns="64347" bIns="64347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dirty="0">
                  <a:solidFill>
                    <a:schemeClr val="tx1"/>
                  </a:solidFill>
                </a:rPr>
                <a:t>Little to no visualization</a:t>
              </a:r>
            </a:p>
          </p:txBody>
        </p:sp>
        <p:pic>
          <p:nvPicPr>
            <p:cNvPr id="23" name="Graphic 22" descr="Confused Face with No Fill">
              <a:extLst>
                <a:ext uri="{FF2B5EF4-FFF2-40B4-BE49-F238E27FC236}">
                  <a16:creationId xmlns:a16="http://schemas.microsoft.com/office/drawing/2014/main" id="{8E836EFF-DB0F-B94E-9E75-1A3217E79A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91645" y="5409356"/>
              <a:ext cx="449759" cy="449759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7EF4811-256A-AF40-B854-3FD711677CC3}"/>
              </a:ext>
            </a:extLst>
          </p:cNvPr>
          <p:cNvGrpSpPr/>
          <p:nvPr/>
        </p:nvGrpSpPr>
        <p:grpSpPr>
          <a:xfrm>
            <a:off x="8691719" y="5761486"/>
            <a:ext cx="3399407" cy="593528"/>
            <a:chOff x="8642953" y="6173118"/>
            <a:chExt cx="3399407" cy="593528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0239BADF-0712-6042-8789-14194557023F}"/>
                </a:ext>
              </a:extLst>
            </p:cNvPr>
            <p:cNvSpPr/>
            <p:nvPr/>
          </p:nvSpPr>
          <p:spPr>
            <a:xfrm>
              <a:off x="8642953" y="6173118"/>
              <a:ext cx="3399407" cy="593528"/>
            </a:xfrm>
            <a:custGeom>
              <a:avLst/>
              <a:gdLst>
                <a:gd name="connsiteX0" fmla="*/ 0 w 1088246"/>
                <a:gd name="connsiteY0" fmla="*/ 37581 h 375808"/>
                <a:gd name="connsiteX1" fmla="*/ 37581 w 1088246"/>
                <a:gd name="connsiteY1" fmla="*/ 0 h 375808"/>
                <a:gd name="connsiteX2" fmla="*/ 1050665 w 1088246"/>
                <a:gd name="connsiteY2" fmla="*/ 0 h 375808"/>
                <a:gd name="connsiteX3" fmla="*/ 1088246 w 1088246"/>
                <a:gd name="connsiteY3" fmla="*/ 37581 h 375808"/>
                <a:gd name="connsiteX4" fmla="*/ 1088246 w 1088246"/>
                <a:gd name="connsiteY4" fmla="*/ 338227 h 375808"/>
                <a:gd name="connsiteX5" fmla="*/ 1050665 w 1088246"/>
                <a:gd name="connsiteY5" fmla="*/ 375808 h 375808"/>
                <a:gd name="connsiteX6" fmla="*/ 37581 w 1088246"/>
                <a:gd name="connsiteY6" fmla="*/ 375808 h 375808"/>
                <a:gd name="connsiteX7" fmla="*/ 0 w 1088246"/>
                <a:gd name="connsiteY7" fmla="*/ 338227 h 375808"/>
                <a:gd name="connsiteX8" fmla="*/ 0 w 1088246"/>
                <a:gd name="connsiteY8" fmla="*/ 37581 h 37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8246" h="375808">
                  <a:moveTo>
                    <a:pt x="0" y="37581"/>
                  </a:moveTo>
                  <a:cubicBezTo>
                    <a:pt x="0" y="16826"/>
                    <a:pt x="16826" y="0"/>
                    <a:pt x="37581" y="0"/>
                  </a:cubicBezTo>
                  <a:lnTo>
                    <a:pt x="1050665" y="0"/>
                  </a:lnTo>
                  <a:cubicBezTo>
                    <a:pt x="1071420" y="0"/>
                    <a:pt x="1088246" y="16826"/>
                    <a:pt x="1088246" y="37581"/>
                  </a:cubicBezTo>
                  <a:lnTo>
                    <a:pt x="1088246" y="338227"/>
                  </a:lnTo>
                  <a:cubicBezTo>
                    <a:pt x="1088246" y="358982"/>
                    <a:pt x="1071420" y="375808"/>
                    <a:pt x="1050665" y="375808"/>
                  </a:cubicBezTo>
                  <a:lnTo>
                    <a:pt x="37581" y="375808"/>
                  </a:lnTo>
                  <a:cubicBezTo>
                    <a:pt x="16826" y="375808"/>
                    <a:pt x="0" y="358982"/>
                    <a:pt x="0" y="338227"/>
                  </a:cubicBezTo>
                  <a:lnTo>
                    <a:pt x="0" y="37581"/>
                  </a:lnTo>
                  <a:close/>
                </a:path>
              </a:pathLst>
            </a:custGeom>
            <a:solidFill>
              <a:schemeClr val="bg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347" tIns="64347" rIns="64347" bIns="64347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dirty="0">
                  <a:solidFill>
                    <a:schemeClr val="tx1"/>
                  </a:solidFill>
                </a:rPr>
                <a:t>Fragmented decisions</a:t>
              </a:r>
            </a:p>
          </p:txBody>
        </p:sp>
        <p:pic>
          <p:nvPicPr>
            <p:cNvPr id="25" name="Graphic 24" descr="Confused Face with No Fill">
              <a:extLst>
                <a:ext uri="{FF2B5EF4-FFF2-40B4-BE49-F238E27FC236}">
                  <a16:creationId xmlns:a16="http://schemas.microsoft.com/office/drawing/2014/main" id="{99BEACA8-5584-C346-9EB7-4A126B83F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806561" y="6255177"/>
              <a:ext cx="449759" cy="4497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53368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500474-1971-C64D-B6AA-E92216E89C9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682" y="7044172"/>
            <a:ext cx="449263" cy="239713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6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146DCEB-363F-6043-99BB-B2AD1EDEB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125" y="196539"/>
            <a:ext cx="10406063" cy="1080000"/>
          </a:xfrm>
        </p:spPr>
        <p:txBody>
          <a:bodyPr/>
          <a:lstStyle/>
          <a:p>
            <a:r>
              <a:rPr lang="en-US" dirty="0">
                <a:cs typeface="Al Bayan Plain" pitchFamily="2" charset="-78"/>
              </a:rPr>
              <a:t>Use case : </a:t>
            </a:r>
            <a:r>
              <a:rPr lang="en-US" dirty="0"/>
              <a:t>Smarter Production Decisions</a:t>
            </a:r>
            <a:endParaRPr lang="en-US" dirty="0">
              <a:cs typeface="Al Bayan Plain" pitchFamily="2" charset="-78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9E14A19-021D-6B44-AE8E-EB5B454EF5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735" y="1494421"/>
            <a:ext cx="10373645" cy="4281709"/>
          </a:xfrm>
        </p:spPr>
        <p:txBody>
          <a:bodyPr/>
          <a:lstStyle/>
          <a:p>
            <a:r>
              <a:rPr lang="en-US" sz="2800" b="1" dirty="0">
                <a:cs typeface="Al Bayan Plain" pitchFamily="2" charset="-78"/>
              </a:rPr>
              <a:t>Solution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BB80EB75-8F63-1847-86CC-C3474B6AA9D8}"/>
              </a:ext>
            </a:extLst>
          </p:cNvPr>
          <p:cNvGrpSpPr/>
          <p:nvPr/>
        </p:nvGrpSpPr>
        <p:grpSpPr>
          <a:xfrm>
            <a:off x="505975" y="3017844"/>
            <a:ext cx="1478259" cy="1900689"/>
            <a:chOff x="914080" y="2201380"/>
            <a:chExt cx="1800971" cy="2315620"/>
          </a:xfrm>
        </p:grpSpPr>
        <p:pic>
          <p:nvPicPr>
            <p:cNvPr id="33" name="Picture 6" descr="http://visitor.bigchangeapps.com/wp-content/uploads/2015/08/api.jpg">
              <a:extLst>
                <a:ext uri="{FF2B5EF4-FFF2-40B4-BE49-F238E27FC236}">
                  <a16:creationId xmlns:a16="http://schemas.microsoft.com/office/drawing/2014/main" id="{204BDF02-B391-5F41-AB8B-65FA98A96A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92" t="4167" r="36519" b="21588"/>
            <a:stretch/>
          </p:blipFill>
          <p:spPr bwMode="auto">
            <a:xfrm>
              <a:off x="1540652" y="3361115"/>
              <a:ext cx="478643" cy="7175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AA4FF5C9-DCE1-7049-8C0B-70E8CC92BD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9208" y="2392889"/>
              <a:ext cx="781533" cy="654798"/>
            </a:xfrm>
            <a:prstGeom prst="rect">
              <a:avLst/>
            </a:prstGeom>
          </p:spPr>
        </p:pic>
        <p:sp>
          <p:nvSpPr>
            <p:cNvPr id="50" name="Double Brace 49">
              <a:extLst>
                <a:ext uri="{FF2B5EF4-FFF2-40B4-BE49-F238E27FC236}">
                  <a16:creationId xmlns:a16="http://schemas.microsoft.com/office/drawing/2014/main" id="{3CE2332F-5BB5-3F49-BCAE-93D4610DB659}"/>
                </a:ext>
              </a:extLst>
            </p:cNvPr>
            <p:cNvSpPr/>
            <p:nvPr/>
          </p:nvSpPr>
          <p:spPr>
            <a:xfrm>
              <a:off x="914080" y="2201380"/>
              <a:ext cx="1800971" cy="2315620"/>
            </a:xfrm>
            <a:prstGeom prst="bracePair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5138959-796A-164B-A92D-60C1B1B38C0A}"/>
              </a:ext>
            </a:extLst>
          </p:cNvPr>
          <p:cNvGrpSpPr/>
          <p:nvPr/>
        </p:nvGrpSpPr>
        <p:grpSpPr>
          <a:xfrm>
            <a:off x="1867360" y="3858456"/>
            <a:ext cx="3062566" cy="2265838"/>
            <a:chOff x="3212290" y="1942907"/>
            <a:chExt cx="3601727" cy="2664736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711AC6DE-0C00-404A-AEFE-3FD2201BCD83}"/>
                </a:ext>
              </a:extLst>
            </p:cNvPr>
            <p:cNvGrpSpPr/>
            <p:nvPr/>
          </p:nvGrpSpPr>
          <p:grpSpPr>
            <a:xfrm>
              <a:off x="3212290" y="1942907"/>
              <a:ext cx="3601727" cy="2664736"/>
              <a:chOff x="4001428" y="1967959"/>
              <a:chExt cx="3601727" cy="2664736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54E3E35A-20CE-024E-B7EA-2A15E1BA51D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801" t="72" r="23293"/>
              <a:stretch/>
            </p:blipFill>
            <p:spPr>
              <a:xfrm>
                <a:off x="4853759" y="1967959"/>
                <a:ext cx="1159349" cy="1087921"/>
              </a:xfrm>
              <a:prstGeom prst="ellipse">
                <a:avLst/>
              </a:prstGeom>
            </p:spPr>
          </p:pic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23AEAE97-2B78-0A4C-A22F-2C834656CE35}"/>
                  </a:ext>
                </a:extLst>
              </p:cNvPr>
              <p:cNvGrpSpPr/>
              <p:nvPr/>
            </p:nvGrpSpPr>
            <p:grpSpPr>
              <a:xfrm>
                <a:off x="4906261" y="4066166"/>
                <a:ext cx="1648200" cy="566529"/>
                <a:chOff x="3746657" y="4714952"/>
                <a:chExt cx="3028627" cy="1041019"/>
              </a:xfrm>
            </p:grpSpPr>
            <p:pic>
              <p:nvPicPr>
                <p:cNvPr id="29" name="Picture 28">
                  <a:extLst>
                    <a:ext uri="{FF2B5EF4-FFF2-40B4-BE49-F238E27FC236}">
                      <a16:creationId xmlns:a16="http://schemas.microsoft.com/office/drawing/2014/main" id="{77C95FEE-9559-8B4E-A9FA-C338F62E2A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44596" y="4803942"/>
                  <a:ext cx="785104" cy="909071"/>
                </a:xfrm>
                <a:prstGeom prst="rect">
                  <a:avLst/>
                </a:prstGeom>
              </p:spPr>
            </p:pic>
            <p:pic>
              <p:nvPicPr>
                <p:cNvPr id="31" name="Picture 30">
                  <a:extLst>
                    <a:ext uri="{FF2B5EF4-FFF2-40B4-BE49-F238E27FC236}">
                      <a16:creationId xmlns:a16="http://schemas.microsoft.com/office/drawing/2014/main" id="{B2543312-025A-1E4D-B7DE-14119D6346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6555" t="16089" r="17986" b="16703"/>
                <a:stretch/>
              </p:blipFill>
              <p:spPr>
                <a:xfrm>
                  <a:off x="5774825" y="4714952"/>
                  <a:ext cx="1000459" cy="1041019"/>
                </a:xfrm>
                <a:prstGeom prst="rect">
                  <a:avLst/>
                </a:prstGeom>
              </p:spPr>
            </p:pic>
            <p:pic>
              <p:nvPicPr>
                <p:cNvPr id="35" name="Picture 34">
                  <a:extLst>
                    <a:ext uri="{FF2B5EF4-FFF2-40B4-BE49-F238E27FC236}">
                      <a16:creationId xmlns:a16="http://schemas.microsoft.com/office/drawing/2014/main" id="{70CD38F2-9164-D446-95A0-33BF161101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46657" y="4803942"/>
                  <a:ext cx="866479" cy="787946"/>
                </a:xfrm>
                <a:prstGeom prst="rect">
                  <a:avLst/>
                </a:prstGeom>
              </p:spPr>
            </p:pic>
          </p:grpSp>
          <p:sp>
            <p:nvSpPr>
              <p:cNvPr id="69" name="Double Brace 68">
                <a:extLst>
                  <a:ext uri="{FF2B5EF4-FFF2-40B4-BE49-F238E27FC236}">
                    <a16:creationId xmlns:a16="http://schemas.microsoft.com/office/drawing/2014/main" id="{29BC1725-3FB7-F84A-B109-68618E0478DB}"/>
                  </a:ext>
                </a:extLst>
              </p:cNvPr>
              <p:cNvSpPr/>
              <p:nvPr/>
            </p:nvSpPr>
            <p:spPr>
              <a:xfrm>
                <a:off x="4001428" y="2226059"/>
                <a:ext cx="2927091" cy="2315620"/>
              </a:xfrm>
              <a:prstGeom prst="bracePair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30FE3F28-7936-FE42-860F-F53C05CA0082}"/>
                  </a:ext>
                </a:extLst>
              </p:cNvPr>
              <p:cNvSpPr/>
              <p:nvPr/>
            </p:nvSpPr>
            <p:spPr>
              <a:xfrm>
                <a:off x="4416854" y="3272600"/>
                <a:ext cx="3186301" cy="593528"/>
              </a:xfrm>
              <a:custGeom>
                <a:avLst/>
                <a:gdLst>
                  <a:gd name="connsiteX0" fmla="*/ 0 w 1088246"/>
                  <a:gd name="connsiteY0" fmla="*/ 37581 h 375808"/>
                  <a:gd name="connsiteX1" fmla="*/ 37581 w 1088246"/>
                  <a:gd name="connsiteY1" fmla="*/ 0 h 375808"/>
                  <a:gd name="connsiteX2" fmla="*/ 1050665 w 1088246"/>
                  <a:gd name="connsiteY2" fmla="*/ 0 h 375808"/>
                  <a:gd name="connsiteX3" fmla="*/ 1088246 w 1088246"/>
                  <a:gd name="connsiteY3" fmla="*/ 37581 h 375808"/>
                  <a:gd name="connsiteX4" fmla="*/ 1088246 w 1088246"/>
                  <a:gd name="connsiteY4" fmla="*/ 338227 h 375808"/>
                  <a:gd name="connsiteX5" fmla="*/ 1050665 w 1088246"/>
                  <a:gd name="connsiteY5" fmla="*/ 375808 h 375808"/>
                  <a:gd name="connsiteX6" fmla="*/ 37581 w 1088246"/>
                  <a:gd name="connsiteY6" fmla="*/ 375808 h 375808"/>
                  <a:gd name="connsiteX7" fmla="*/ 0 w 1088246"/>
                  <a:gd name="connsiteY7" fmla="*/ 338227 h 375808"/>
                  <a:gd name="connsiteX8" fmla="*/ 0 w 1088246"/>
                  <a:gd name="connsiteY8" fmla="*/ 37581 h 375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8246" h="375808">
                    <a:moveTo>
                      <a:pt x="0" y="37581"/>
                    </a:moveTo>
                    <a:cubicBezTo>
                      <a:pt x="0" y="16826"/>
                      <a:pt x="16826" y="0"/>
                      <a:pt x="37581" y="0"/>
                    </a:cubicBezTo>
                    <a:lnTo>
                      <a:pt x="1050665" y="0"/>
                    </a:lnTo>
                    <a:cubicBezTo>
                      <a:pt x="1071420" y="0"/>
                      <a:pt x="1088246" y="16826"/>
                      <a:pt x="1088246" y="37581"/>
                    </a:cubicBezTo>
                    <a:lnTo>
                      <a:pt x="1088246" y="338227"/>
                    </a:lnTo>
                    <a:cubicBezTo>
                      <a:pt x="1088246" y="358982"/>
                      <a:pt x="1071420" y="375808"/>
                      <a:pt x="1050665" y="375808"/>
                    </a:cubicBezTo>
                    <a:lnTo>
                      <a:pt x="37581" y="375808"/>
                    </a:lnTo>
                    <a:cubicBezTo>
                      <a:pt x="16826" y="375808"/>
                      <a:pt x="0" y="358982"/>
                      <a:pt x="0" y="338227"/>
                    </a:cubicBezTo>
                    <a:lnTo>
                      <a:pt x="0" y="37581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4347" tIns="64347" rIns="64347" bIns="64347" numCol="1" spcCol="1270" anchor="ctr" anchorCtr="0">
                <a:noAutofit/>
              </a:bodyPr>
              <a:lstStyle/>
              <a:p>
                <a:pPr marL="285750" indent="-285750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</a:rPr>
                  <a:t>Data wrangling</a:t>
                </a:r>
              </a:p>
              <a:p>
                <a:pPr marL="285750" indent="-285750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</a:rPr>
                  <a:t>Model building </a:t>
                </a:r>
              </a:p>
              <a:p>
                <a:pPr marL="285750" indent="-285750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</a:rPr>
                  <a:t>Visualization</a:t>
                </a:r>
              </a:p>
            </p:txBody>
          </p:sp>
        </p:grpSp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A91728FE-E738-1D4C-A221-336C9D2E3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5582" y="4102069"/>
              <a:ext cx="475208" cy="399563"/>
            </a:xfrm>
            <a:prstGeom prst="rect">
              <a:avLst/>
            </a:prstGeom>
          </p:spPr>
        </p:pic>
      </p:grpSp>
      <p:pic>
        <p:nvPicPr>
          <p:cNvPr id="86" name="Picture 85">
            <a:extLst>
              <a:ext uri="{FF2B5EF4-FFF2-40B4-BE49-F238E27FC236}">
                <a16:creationId xmlns:a16="http://schemas.microsoft.com/office/drawing/2014/main" id="{5CFE290C-4D8A-0F4A-AA3A-3AA2A208EF05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" r="-1"/>
          <a:stretch/>
        </p:blipFill>
        <p:spPr>
          <a:xfrm>
            <a:off x="4547937" y="1682874"/>
            <a:ext cx="3332747" cy="2175582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35D80B6-0CA9-B045-A874-E9C4F15FEAF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9572" y="2913491"/>
            <a:ext cx="4246004" cy="233216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2AE82F09-4D30-CB4F-9A3F-56C62059D0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9284" y="3619751"/>
            <a:ext cx="3668464" cy="269008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F62C63C-7F60-3045-BD94-0B323B7CC9F0}"/>
              </a:ext>
            </a:extLst>
          </p:cNvPr>
          <p:cNvGrpSpPr/>
          <p:nvPr/>
        </p:nvGrpSpPr>
        <p:grpSpPr>
          <a:xfrm>
            <a:off x="4463386" y="1343851"/>
            <a:ext cx="7390228" cy="5029209"/>
            <a:chOff x="4255973" y="1352043"/>
            <a:chExt cx="7390228" cy="502920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F878A91-A7A5-524C-8D8C-32152AFDDEB3}"/>
                </a:ext>
              </a:extLst>
            </p:cNvPr>
            <p:cNvGrpSpPr/>
            <p:nvPr/>
          </p:nvGrpSpPr>
          <p:grpSpPr>
            <a:xfrm>
              <a:off x="4255973" y="1352043"/>
              <a:ext cx="7390228" cy="5029209"/>
              <a:chOff x="4348979" y="1453583"/>
              <a:chExt cx="7390228" cy="5029209"/>
            </a:xfrm>
          </p:grpSpPr>
          <p:pic>
            <p:nvPicPr>
              <p:cNvPr id="36" name="domino_screen_grab.mp4">
                <a:hlinkClick r:id="" action="ppaction://media"/>
                <a:extLst>
                  <a:ext uri="{FF2B5EF4-FFF2-40B4-BE49-F238E27FC236}">
                    <a16:creationId xmlns:a16="http://schemas.microsoft.com/office/drawing/2014/main" id="{CACE8AA0-9FA7-EC40-A01C-1B73B23BDC0D}"/>
                  </a:ext>
                </a:extLst>
              </p:cNvPr>
              <p:cNvPicPr>
                <a:picLocks noChangeAspect="1"/>
              </p:cNvPicPr>
              <p:nvPr>
                <a:videoFile r:link="rId2"/>
                <p:extLst>
                  <p:ext uri="{DAA4B4D4-6D71-4841-9C94-3DE7FCFB9230}">
                    <p14:media xmlns:p14="http://schemas.microsoft.com/office/powerpoint/2010/main" r:embed="rId1"/>
                  </p:ext>
                </p:extLst>
              </p:nvPr>
            </p:nvPicPr>
            <p:blipFill rotWithShape="1">
              <a:blip r:embed="rId15"/>
              <a:srcRect l="2479" t="4557" r="5724"/>
              <a:stretch/>
            </p:blipFill>
            <p:spPr>
              <a:xfrm>
                <a:off x="4407366" y="1453583"/>
                <a:ext cx="7331841" cy="5029209"/>
              </a:xfrm>
              <a:prstGeom prst="rect">
                <a:avLst/>
              </a:prstGeom>
            </p:spPr>
          </p:pic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C5551AE0-DB61-F447-99A6-698852398F4C}"/>
                  </a:ext>
                </a:extLst>
              </p:cNvPr>
              <p:cNvSpPr/>
              <p:nvPr/>
            </p:nvSpPr>
            <p:spPr>
              <a:xfrm>
                <a:off x="4348979" y="1610461"/>
                <a:ext cx="7390228" cy="299284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8864E7-95FD-F449-9D80-4E908C053E74}"/>
                </a:ext>
              </a:extLst>
            </p:cNvPr>
            <p:cNvSpPr/>
            <p:nvPr/>
          </p:nvSpPr>
          <p:spPr>
            <a:xfrm>
              <a:off x="6314978" y="1376107"/>
              <a:ext cx="3346379" cy="106741"/>
            </a:xfrm>
            <a:prstGeom prst="rect">
              <a:avLst/>
            </a:prstGeom>
            <a:solidFill>
              <a:srgbClr val="F1F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2574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5" fill="hold" display="0">
                  <p:stCondLst>
                    <p:cond delay="indefinite"/>
                  </p:stCondLst>
                </p:cTn>
                <p:tgtEl>
                  <p:spTgt spid="36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500474-1971-C64D-B6AA-E92216E89C9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682" y="7044172"/>
            <a:ext cx="449263" cy="239713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146DCEB-363F-6043-99BB-B2AD1EDEB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l Bayan Plain" pitchFamily="2" charset="-78"/>
              </a:rPr>
              <a:t>Use case : </a:t>
            </a:r>
            <a:r>
              <a:rPr lang="en-US" dirty="0"/>
              <a:t>Smarter Production Decisions</a:t>
            </a:r>
            <a:endParaRPr lang="en-US" dirty="0">
              <a:cs typeface="Al Bayan Plain" pitchFamily="2" charset="-78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9E14A19-021D-6B44-AE8E-EB5B454EF5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945" y="1434230"/>
            <a:ext cx="9965955" cy="4281709"/>
          </a:xfrm>
        </p:spPr>
        <p:txBody>
          <a:bodyPr/>
          <a:lstStyle/>
          <a:p>
            <a:r>
              <a:rPr lang="en-US" sz="2800" b="1" dirty="0">
                <a:cs typeface="Al Bayan Plain" pitchFamily="2" charset="-78"/>
              </a:rPr>
              <a:t>Impact</a:t>
            </a:r>
          </a:p>
          <a:p>
            <a:pPr marL="0" indent="0">
              <a:buNone/>
            </a:pPr>
            <a:endParaRPr lang="en-US" sz="2800" b="1" dirty="0">
              <a:cs typeface="Al Bayan Plain" pitchFamily="2" charset="-78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C40AA03-EE11-044D-B1C2-61F937C5B4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92221" y="2281217"/>
            <a:ext cx="1145429" cy="114542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C2D0D56-6B7F-3D40-8543-74FED8C8D8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73569" y="2975983"/>
            <a:ext cx="901325" cy="90132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9DEFB75-208D-9E41-A65F-CA7DA2A4B567}"/>
              </a:ext>
            </a:extLst>
          </p:cNvPr>
          <p:cNvSpPr/>
          <p:nvPr/>
        </p:nvSpPr>
        <p:spPr>
          <a:xfrm>
            <a:off x="118419" y="4157280"/>
            <a:ext cx="370485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n-US" sz="2000" b="1" dirty="0">
                <a:solidFill>
                  <a:srgbClr val="10384F"/>
                </a:solidFill>
                <a:cs typeface="Al Bayan Plain" pitchFamily="2" charset="-78"/>
              </a:rPr>
              <a:t>Stakeholders </a:t>
            </a:r>
          </a:p>
          <a:p>
            <a:pPr lvl="1" algn="ctr"/>
            <a:endParaRPr lang="en-US" sz="2400" b="1" dirty="0">
              <a:solidFill>
                <a:srgbClr val="10384F"/>
              </a:solidFill>
              <a:cs typeface="Al Bayan Plain" pitchFamily="2" charset="-78"/>
            </a:endParaRPr>
          </a:p>
          <a:p>
            <a:pPr marL="800100" lvl="1" indent="-342900">
              <a:buFont typeface="Wingdings" pitchFamily="2" charset="2"/>
              <a:buChar char="ü"/>
            </a:pPr>
            <a:r>
              <a:rPr lang="en-US" sz="1600" dirty="0">
                <a:solidFill>
                  <a:srgbClr val="10384F"/>
                </a:solidFill>
                <a:cs typeface="Al Bayan Plain" pitchFamily="2" charset="-78"/>
              </a:rPr>
              <a:t>Convenient access to results reported with trackable, shareable visualization tool</a:t>
            </a:r>
          </a:p>
          <a:p>
            <a:pPr lvl="1"/>
            <a:endParaRPr lang="en-US" sz="1600" dirty="0">
              <a:solidFill>
                <a:srgbClr val="10384F"/>
              </a:solidFill>
              <a:cs typeface="Al Bayan Plain" pitchFamily="2" charset="-78"/>
            </a:endParaRPr>
          </a:p>
          <a:p>
            <a:pPr marL="800100" lvl="1" indent="-342900">
              <a:buFont typeface="Wingdings" pitchFamily="2" charset="2"/>
              <a:buChar char="ü"/>
            </a:pPr>
            <a:r>
              <a:rPr lang="en-US" sz="1600" dirty="0">
                <a:solidFill>
                  <a:srgbClr val="10384F"/>
                </a:solidFill>
                <a:cs typeface="Al Bayan Plain" pitchFamily="2" charset="-78"/>
              </a:rPr>
              <a:t>Faster and smarter decision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CF47396-2B1E-8349-9BCD-4CB0342B7E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4054" y="1945799"/>
            <a:ext cx="2980805" cy="191124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57969B34-D2C3-6A49-BB57-BB3A141269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09434" y="3061591"/>
            <a:ext cx="795449" cy="79544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D9E5BC39-33DA-3A44-8E4A-E5587076DB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7475" y="2318723"/>
            <a:ext cx="1060071" cy="106007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252B7375-C49C-7244-BFC7-739A16BF090D}"/>
              </a:ext>
            </a:extLst>
          </p:cNvPr>
          <p:cNvSpPr/>
          <p:nvPr/>
        </p:nvSpPr>
        <p:spPr>
          <a:xfrm>
            <a:off x="3845790" y="4157280"/>
            <a:ext cx="3781723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n-US" sz="2000" b="1" dirty="0">
                <a:solidFill>
                  <a:srgbClr val="10384F"/>
                </a:solidFill>
                <a:cs typeface="Al Bayan Plain" pitchFamily="2" charset="-78"/>
              </a:rPr>
              <a:t>Data Scientists</a:t>
            </a:r>
          </a:p>
          <a:p>
            <a:pPr lvl="1" algn="ctr"/>
            <a:endParaRPr lang="en-US" sz="2400" b="1" dirty="0">
              <a:solidFill>
                <a:srgbClr val="10384F"/>
              </a:solidFill>
              <a:cs typeface="Al Bayan Plain" pitchFamily="2" charset="-78"/>
            </a:endParaRPr>
          </a:p>
          <a:p>
            <a:pPr marL="800100" lvl="1" indent="-342900">
              <a:buFont typeface="Wingdings" pitchFamily="2" charset="2"/>
              <a:buChar char="ü"/>
            </a:pPr>
            <a:r>
              <a:rPr lang="en-US" sz="1600" dirty="0">
                <a:solidFill>
                  <a:srgbClr val="10384F"/>
                </a:solidFill>
                <a:cs typeface="Al Bayan Plain" pitchFamily="2" charset="-78"/>
              </a:rPr>
              <a:t>Easily adjustable hardware and environment with centralized management</a:t>
            </a:r>
          </a:p>
          <a:p>
            <a:pPr lvl="1"/>
            <a:endParaRPr lang="en-US" sz="1600" dirty="0">
              <a:solidFill>
                <a:srgbClr val="10384F"/>
              </a:solidFill>
              <a:cs typeface="Al Bayan Plain" pitchFamily="2" charset="-78"/>
            </a:endParaRPr>
          </a:p>
          <a:p>
            <a:pPr marL="800100" lvl="1" indent="-342900">
              <a:buFont typeface="Wingdings" pitchFamily="2" charset="2"/>
              <a:buChar char="ü"/>
            </a:pPr>
            <a:r>
              <a:rPr lang="en-US" sz="1600" dirty="0">
                <a:solidFill>
                  <a:srgbClr val="10384F"/>
                </a:solidFill>
                <a:cs typeface="Al Bayan Plain" pitchFamily="2" charset="-78"/>
              </a:rPr>
              <a:t>Empowered to focus on innovation and collaboration</a:t>
            </a:r>
          </a:p>
          <a:p>
            <a:pPr lvl="1" algn="ctr"/>
            <a:endParaRPr lang="en-US" sz="1600" dirty="0">
              <a:solidFill>
                <a:srgbClr val="10384F"/>
              </a:solidFill>
              <a:cs typeface="Al Bayan Plain" pitchFamily="2" charset="-78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46AE411-3BAB-774D-BC89-2028723DA0C7}"/>
              </a:ext>
            </a:extLst>
          </p:cNvPr>
          <p:cNvSpPr/>
          <p:nvPr/>
        </p:nvSpPr>
        <p:spPr>
          <a:xfrm>
            <a:off x="7650029" y="4157280"/>
            <a:ext cx="388315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n-US" sz="2000" b="1" dirty="0">
                <a:solidFill>
                  <a:srgbClr val="10384F"/>
                </a:solidFill>
                <a:cs typeface="Al Bayan Plain" pitchFamily="2" charset="-78"/>
              </a:rPr>
              <a:t>Data Science Life-Cycle</a:t>
            </a:r>
          </a:p>
          <a:p>
            <a:pPr lvl="1" algn="ctr"/>
            <a:endParaRPr lang="en-US" sz="2400" b="1" dirty="0">
              <a:solidFill>
                <a:srgbClr val="10384F"/>
              </a:solidFill>
              <a:cs typeface="Al Bayan Plain" pitchFamily="2" charset="-78"/>
            </a:endParaRPr>
          </a:p>
          <a:p>
            <a:pPr marL="800100" lvl="1" indent="-342900">
              <a:buFont typeface="Wingdings" pitchFamily="2" charset="2"/>
              <a:buChar char="ü"/>
            </a:pPr>
            <a:r>
              <a:rPr lang="en-US" sz="1600" dirty="0">
                <a:solidFill>
                  <a:srgbClr val="10384F"/>
                </a:solidFill>
                <a:cs typeface="Al Bayan Plain" pitchFamily="2" charset="-78"/>
              </a:rPr>
              <a:t>Robust discovery environment </a:t>
            </a:r>
          </a:p>
          <a:p>
            <a:pPr marL="800100" lvl="1" indent="-342900">
              <a:buFont typeface="Wingdings" pitchFamily="2" charset="2"/>
              <a:buChar char="ü"/>
            </a:pPr>
            <a:endParaRPr lang="en-US" sz="1600" dirty="0">
              <a:solidFill>
                <a:srgbClr val="10384F"/>
              </a:solidFill>
            </a:endParaRPr>
          </a:p>
          <a:p>
            <a:pPr marL="800100" lvl="1" indent="-342900">
              <a:buFont typeface="Wingdings" pitchFamily="2" charset="2"/>
              <a:buChar char="ü"/>
            </a:pPr>
            <a:r>
              <a:rPr lang="en-US" sz="1600" dirty="0">
                <a:solidFill>
                  <a:srgbClr val="10384F"/>
                </a:solidFill>
              </a:rPr>
              <a:t>Model development accelerated with fast and light-weight experimentation </a:t>
            </a:r>
          </a:p>
          <a:p>
            <a:pPr marL="800100" lvl="1" indent="-342900">
              <a:buFont typeface="Wingdings" pitchFamily="2" charset="2"/>
              <a:buChar char="ü"/>
            </a:pPr>
            <a:endParaRPr lang="en-US" sz="1600" dirty="0">
              <a:solidFill>
                <a:srgbClr val="10384F"/>
              </a:solidFill>
              <a:cs typeface="Al Bayan Plain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3331101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>
            <a:extLst>
              <a:ext uri="{FF2B5EF4-FFF2-40B4-BE49-F238E27FC236}">
                <a16:creationId xmlns:a16="http://schemas.microsoft.com/office/drawing/2014/main" id="{E088E714-FE8A-944C-8BCA-605EC1B1315D}"/>
              </a:ext>
            </a:extLst>
          </p:cNvPr>
          <p:cNvSpPr/>
          <p:nvPr/>
        </p:nvSpPr>
        <p:spPr>
          <a:xfrm>
            <a:off x="3363534" y="-249980"/>
            <a:ext cx="2783238" cy="749510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500474-1971-C64D-B6AA-E92216E89C9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682" y="7044172"/>
            <a:ext cx="449263" cy="239713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146DCEB-363F-6043-99BB-B2AD1EDEB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l Bayan Plain" pitchFamily="2" charset="-78"/>
              </a:rPr>
              <a:t>Use case : </a:t>
            </a:r>
            <a:r>
              <a:rPr lang="en-US">
                <a:cs typeface="Al Bayan Plain" pitchFamily="2" charset="-78"/>
              </a:rPr>
              <a:t>Involving stakeholders in model ops</a:t>
            </a:r>
            <a:endParaRPr lang="en-US" dirty="0">
              <a:cs typeface="Al Bayan Plain" pitchFamily="2" charset="-78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9E14A19-021D-6B44-AE8E-EB5B454EF5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735" y="1494421"/>
            <a:ext cx="10373645" cy="4281709"/>
          </a:xfrm>
        </p:spPr>
        <p:txBody>
          <a:bodyPr/>
          <a:lstStyle/>
          <a:p>
            <a:r>
              <a:rPr lang="en-US" sz="2800" b="1" dirty="0">
                <a:cs typeface="Al Bayan Plain" pitchFamily="2" charset="-78"/>
              </a:rPr>
              <a:t>Problem at hand </a:t>
            </a:r>
          </a:p>
          <a:p>
            <a:pPr marL="0" indent="0">
              <a:buNone/>
            </a:pPr>
            <a:endParaRPr lang="en-US" b="1" dirty="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14DBCA30-A110-B043-92B3-9C0A08DD24E7}"/>
              </a:ext>
            </a:extLst>
          </p:cNvPr>
          <p:cNvSpPr/>
          <p:nvPr/>
        </p:nvSpPr>
        <p:spPr>
          <a:xfrm>
            <a:off x="1223912" y="5631470"/>
            <a:ext cx="1868696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roduction Planning </a:t>
            </a:r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07624613-7CCA-5E46-BBBD-9AF3F6EA1CE8}"/>
              </a:ext>
            </a:extLst>
          </p:cNvPr>
          <p:cNvSpPr/>
          <p:nvPr/>
        </p:nvSpPr>
        <p:spPr>
          <a:xfrm>
            <a:off x="6344949" y="4116167"/>
            <a:ext cx="2298004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rocessing &amp; Finishing</a:t>
            </a: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2366D79A-8C70-A74B-829D-8BDCC48BF0AA}"/>
              </a:ext>
            </a:extLst>
          </p:cNvPr>
          <p:cNvSpPr/>
          <p:nvPr/>
        </p:nvSpPr>
        <p:spPr>
          <a:xfrm>
            <a:off x="3627389" y="4820060"/>
            <a:ext cx="2277637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lanting &amp; Harvesting</a:t>
            </a: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CCB9AB04-E235-FA4A-873D-57DF49CA74BF}"/>
              </a:ext>
            </a:extLst>
          </p:cNvPr>
          <p:cNvSpPr/>
          <p:nvPr/>
        </p:nvSpPr>
        <p:spPr>
          <a:xfrm>
            <a:off x="9092298" y="3278057"/>
            <a:ext cx="2281336" cy="593528"/>
          </a:xfrm>
          <a:custGeom>
            <a:avLst/>
            <a:gdLst>
              <a:gd name="connsiteX0" fmla="*/ 0 w 1088246"/>
              <a:gd name="connsiteY0" fmla="*/ 37581 h 375808"/>
              <a:gd name="connsiteX1" fmla="*/ 37581 w 1088246"/>
              <a:gd name="connsiteY1" fmla="*/ 0 h 375808"/>
              <a:gd name="connsiteX2" fmla="*/ 1050665 w 1088246"/>
              <a:gd name="connsiteY2" fmla="*/ 0 h 375808"/>
              <a:gd name="connsiteX3" fmla="*/ 1088246 w 1088246"/>
              <a:gd name="connsiteY3" fmla="*/ 37581 h 375808"/>
              <a:gd name="connsiteX4" fmla="*/ 1088246 w 1088246"/>
              <a:gd name="connsiteY4" fmla="*/ 338227 h 375808"/>
              <a:gd name="connsiteX5" fmla="*/ 1050665 w 1088246"/>
              <a:gd name="connsiteY5" fmla="*/ 375808 h 375808"/>
              <a:gd name="connsiteX6" fmla="*/ 37581 w 1088246"/>
              <a:gd name="connsiteY6" fmla="*/ 375808 h 375808"/>
              <a:gd name="connsiteX7" fmla="*/ 0 w 1088246"/>
              <a:gd name="connsiteY7" fmla="*/ 338227 h 375808"/>
              <a:gd name="connsiteX8" fmla="*/ 0 w 1088246"/>
              <a:gd name="connsiteY8" fmla="*/ 37581 h 37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8246" h="375808">
                <a:moveTo>
                  <a:pt x="0" y="37581"/>
                </a:moveTo>
                <a:cubicBezTo>
                  <a:pt x="0" y="16826"/>
                  <a:pt x="16826" y="0"/>
                  <a:pt x="37581" y="0"/>
                </a:cubicBezTo>
                <a:lnTo>
                  <a:pt x="1050665" y="0"/>
                </a:lnTo>
                <a:cubicBezTo>
                  <a:pt x="1071420" y="0"/>
                  <a:pt x="1088246" y="16826"/>
                  <a:pt x="1088246" y="37581"/>
                </a:cubicBezTo>
                <a:lnTo>
                  <a:pt x="1088246" y="338227"/>
                </a:lnTo>
                <a:cubicBezTo>
                  <a:pt x="1088246" y="358982"/>
                  <a:pt x="1071420" y="375808"/>
                  <a:pt x="1050665" y="375808"/>
                </a:cubicBezTo>
                <a:lnTo>
                  <a:pt x="37581" y="375808"/>
                </a:lnTo>
                <a:cubicBezTo>
                  <a:pt x="16826" y="375808"/>
                  <a:pt x="0" y="358982"/>
                  <a:pt x="0" y="338227"/>
                </a:cubicBezTo>
                <a:lnTo>
                  <a:pt x="0" y="3758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347" tIns="64347" rIns="64347" bIns="64347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erformance Evaluation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3856E0A-0DD5-C24D-A5F3-1FCE1E605D49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7612" y="3088708"/>
            <a:ext cx="1957193" cy="1565754"/>
          </a:xfrm>
          <a:prstGeom prst="roundRect">
            <a:avLst>
              <a:gd name="adj" fmla="val 3680"/>
            </a:avLst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3FE8044-A143-FE4D-AD41-474609DDC940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9"/>
          <a:stretch/>
        </p:blipFill>
        <p:spPr>
          <a:xfrm>
            <a:off x="6486334" y="2305831"/>
            <a:ext cx="1957193" cy="1565754"/>
          </a:xfrm>
          <a:prstGeom prst="roundRect">
            <a:avLst>
              <a:gd name="adj" fmla="val 3691"/>
            </a:avLst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19A9265A-532C-A149-8F45-762C242BDC45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5056" y="1494421"/>
            <a:ext cx="1957193" cy="1565754"/>
          </a:xfrm>
          <a:prstGeom prst="roundRect">
            <a:avLst>
              <a:gd name="adj" fmla="val 5096"/>
            </a:avLst>
          </a:prstGeom>
          <a:ln>
            <a:solidFill>
              <a:schemeClr val="bg2">
                <a:lumMod val="25000"/>
              </a:schemeClr>
            </a:solidFill>
          </a:ln>
        </p:spPr>
      </p:pic>
      <p:pic>
        <p:nvPicPr>
          <p:cNvPr id="59" name="Picture 58" descr="MicroLocations.jpeg">
            <a:extLst>
              <a:ext uri="{FF2B5EF4-FFF2-40B4-BE49-F238E27FC236}">
                <a16:creationId xmlns:a16="http://schemas.microsoft.com/office/drawing/2014/main" id="{6BC571CC-9057-1444-A004-6A6C0A1DDD9F}"/>
              </a:ext>
            </a:extLst>
          </p:cNvPr>
          <p:cNvPicPr>
            <a:picLocks/>
          </p:cNvPicPr>
          <p:nvPr/>
        </p:nvPicPr>
        <p:blipFill>
          <a:blip r:embed="rId5" cstate="print"/>
          <a:srcRect l="23438" t="28125" r="12500" b="21875"/>
          <a:stretch>
            <a:fillRect/>
          </a:stretch>
        </p:blipFill>
        <p:spPr>
          <a:xfrm>
            <a:off x="1137401" y="3847834"/>
            <a:ext cx="1957193" cy="1565754"/>
          </a:xfrm>
          <a:prstGeom prst="roundRect">
            <a:avLst>
              <a:gd name="adj" fmla="val 3379"/>
            </a:avLst>
          </a:prstGeom>
          <a:ln w="12700">
            <a:solidFill>
              <a:schemeClr val="bg2">
                <a:lumMod val="25000"/>
              </a:schemeClr>
            </a:solidFill>
          </a:ln>
        </p:spPr>
      </p:pic>
      <p:sp>
        <p:nvSpPr>
          <p:cNvPr id="61" name="Left Arrow 60">
            <a:extLst>
              <a:ext uri="{FF2B5EF4-FFF2-40B4-BE49-F238E27FC236}">
                <a16:creationId xmlns:a16="http://schemas.microsoft.com/office/drawing/2014/main" id="{A6EC23C3-9EE0-824D-8A04-325514A5126E}"/>
              </a:ext>
            </a:extLst>
          </p:cNvPr>
          <p:cNvSpPr/>
          <p:nvPr/>
        </p:nvSpPr>
        <p:spPr>
          <a:xfrm rot="9234477">
            <a:off x="3181756" y="3824861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Left Arrow 61">
            <a:extLst>
              <a:ext uri="{FF2B5EF4-FFF2-40B4-BE49-F238E27FC236}">
                <a16:creationId xmlns:a16="http://schemas.microsoft.com/office/drawing/2014/main" id="{38F91A93-DA87-5E43-8F77-D1B01B9891F0}"/>
              </a:ext>
            </a:extLst>
          </p:cNvPr>
          <p:cNvSpPr/>
          <p:nvPr/>
        </p:nvSpPr>
        <p:spPr>
          <a:xfrm rot="9234477">
            <a:off x="5871934" y="2925509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Left Arrow 62">
            <a:extLst>
              <a:ext uri="{FF2B5EF4-FFF2-40B4-BE49-F238E27FC236}">
                <a16:creationId xmlns:a16="http://schemas.microsoft.com/office/drawing/2014/main" id="{EDEF1681-5FEF-0845-B1B2-18AB4602A22C}"/>
              </a:ext>
            </a:extLst>
          </p:cNvPr>
          <p:cNvSpPr/>
          <p:nvPr/>
        </p:nvSpPr>
        <p:spPr>
          <a:xfrm rot="9234477">
            <a:off x="8517003" y="1979890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1" name="Elbow Connector 70">
            <a:extLst>
              <a:ext uri="{FF2B5EF4-FFF2-40B4-BE49-F238E27FC236}">
                <a16:creationId xmlns:a16="http://schemas.microsoft.com/office/drawing/2014/main" id="{815198FE-560F-6440-8ABD-FCC7BF3252CE}"/>
              </a:ext>
            </a:extLst>
          </p:cNvPr>
          <p:cNvCxnSpPr>
            <a:cxnSpLocks/>
          </p:cNvCxnSpPr>
          <p:nvPr/>
        </p:nvCxnSpPr>
        <p:spPr>
          <a:xfrm rot="10800000" flipV="1">
            <a:off x="3787613" y="3945698"/>
            <a:ext cx="6471205" cy="2015284"/>
          </a:xfrm>
          <a:prstGeom prst="bentConnector3">
            <a:avLst>
              <a:gd name="adj1" fmla="val 60"/>
            </a:avLst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Left Arrow 74">
            <a:extLst>
              <a:ext uri="{FF2B5EF4-FFF2-40B4-BE49-F238E27FC236}">
                <a16:creationId xmlns:a16="http://schemas.microsoft.com/office/drawing/2014/main" id="{5BD1CA1C-ADA7-1745-B07E-0C117518DDBD}"/>
              </a:ext>
            </a:extLst>
          </p:cNvPr>
          <p:cNvSpPr/>
          <p:nvPr/>
        </p:nvSpPr>
        <p:spPr>
          <a:xfrm>
            <a:off x="3172516" y="5725670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Left Arrow 77">
            <a:extLst>
              <a:ext uri="{FF2B5EF4-FFF2-40B4-BE49-F238E27FC236}">
                <a16:creationId xmlns:a16="http://schemas.microsoft.com/office/drawing/2014/main" id="{834F837A-BD1E-6543-AB71-6AD5EAAD9654}"/>
              </a:ext>
            </a:extLst>
          </p:cNvPr>
          <p:cNvSpPr/>
          <p:nvPr/>
        </p:nvSpPr>
        <p:spPr>
          <a:xfrm rot="16200000">
            <a:off x="9958193" y="3986058"/>
            <a:ext cx="601249" cy="4634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109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2.xml><?xml version="1.0" encoding="utf-8"?>
<a:theme xmlns:a="http://schemas.openxmlformats.org/drawingml/2006/main" name="1_Office Theme">
  <a:themeElements>
    <a:clrScheme name="Bayer TB-pairs">
      <a:dk1>
        <a:sysClr val="windowText" lastClr="000000"/>
      </a:dk1>
      <a:lt1>
        <a:sysClr val="window" lastClr="FFFFFF"/>
      </a:lt1>
      <a:dk2>
        <a:srgbClr val="10384F"/>
      </a:dk2>
      <a:lt2>
        <a:srgbClr val="E7E6E6"/>
      </a:lt2>
      <a:accent1>
        <a:srgbClr val="10384F"/>
      </a:accent1>
      <a:accent2>
        <a:srgbClr val="00BCFF"/>
      </a:accent2>
      <a:accent3>
        <a:srgbClr val="2B6636"/>
      </a:accent3>
      <a:accent4>
        <a:srgbClr val="89D329"/>
      </a:accent4>
      <a:accent5>
        <a:srgbClr val="443247"/>
      </a:accent5>
      <a:accent6>
        <a:srgbClr val="FF3162"/>
      </a:accent6>
      <a:hlink>
        <a:srgbClr val="00617F"/>
      </a:hlink>
      <a:folHlink>
        <a:srgbClr val="2B663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ayer Dark Blue">
      <a:srgbClr val="10384F"/>
    </a:custClr>
    <a:custClr name="Bayer Mid Blue">
      <a:srgbClr val="00617F"/>
    </a:custClr>
    <a:custClr name="Bayer Blue">
      <a:srgbClr val="0091DF"/>
    </a:custClr>
    <a:custClr name="Bayer Bright Blue">
      <a:srgbClr val="00BCFF"/>
    </a:custClr>
    <a:custClr name="Bayer Dark Green">
      <a:srgbClr val="004422"/>
    </a:custClr>
    <a:custClr name="Bayer Mid Green">
      <a:srgbClr val="2B6636"/>
    </a:custClr>
    <a:custClr name="Bayer Green">
      <a:srgbClr val="66B512"/>
    </a:custClr>
    <a:custClr name="Bayer Bright Green">
      <a:srgbClr val="89D329"/>
    </a:custClr>
    <a:custClr name="Bayer Dark Purple">
      <a:srgbClr val="443247"/>
    </a:custClr>
    <a:custClr name="Bayer Mid Purple">
      <a:srgbClr val="624963"/>
    </a:custClr>
    <a:custClr name="Bayer Raspberry">
      <a:srgbClr val="D30F4B"/>
    </a:custClr>
    <a:custClr name="Bayer Fuchsia">
      <a:srgbClr val="FF3162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blank">
  <a:themeElements>
    <a:clrScheme name="NewBayer_Color Palette">
      <a:dk1>
        <a:srgbClr val="4D4D4D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5598"/>
      </a:accent3>
      <a:accent4>
        <a:srgbClr val="008259"/>
      </a:accent4>
      <a:accent5>
        <a:srgbClr val="FF8200"/>
      </a:accent5>
      <a:accent6>
        <a:srgbClr val="C32A1F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2E2E2"/>
        </a:solidFill>
        <a:ln w="9525" algn="ctr">
          <a:solidFill>
            <a:srgbClr val="E2E2E2"/>
          </a:solidFill>
          <a:miter lim="800000"/>
          <a:headEnd/>
          <a:tailEnd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400" dirty="0" err="1" smtClean="0"/>
        </a:defPPr>
      </a:lst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none" lIns="90000" tIns="46800" rIns="90000" bIns="4680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DE93FDB1-1018-4B42-89BE-57FA7B82A30C}" vid="{5B662946-7834-422A-ADBD-03B8F7BF165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BC665F1E-CAC6-1249-BE4F-DA009D68DAAA}">
  <we:reference id="wa104381063" version="1.0.0.0" store="en-US" storeType="OMEX"/>
  <we:alternateReferences>
    <we:reference id="wa104381063" version="1.0.0.0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8D163DD4CF354E996B4956EB9F5E3E" ma:contentTypeVersion="0" ma:contentTypeDescription="Create a new document." ma:contentTypeScope="" ma:versionID="08d017f336154559d48c509c66a3583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6825819137f4b41c0096bfff013cae6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Urls xmlns="http://schemas.microsoft.com/sharepoint/v3/contenttype/forms/url">
  <Edit>_layouts/EditRule.aspx</Edit>
  <New>_layouts/EditRule.aspx</New>
</FormUrl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D5AB31-45F1-45FF-BC31-52726D14502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7C1D0D5-B548-4FFA-AA38-FC10DD236C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7ADF63B-F75E-43B2-A353-66213E06F55C}">
  <ds:schemaRefs>
    <ds:schemaRef ds:uri="http://schemas.microsoft.com/sharepoint/v3/contenttype/forms/url"/>
  </ds:schemaRefs>
</ds:datastoreItem>
</file>

<file path=customXml/itemProps4.xml><?xml version="1.0" encoding="utf-8"?>
<ds:datastoreItem xmlns:ds="http://schemas.openxmlformats.org/officeDocument/2006/customXml" ds:itemID="{51FAEEDF-C3D2-4721-87BE-9715708D95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290</TotalTime>
  <Words>273</Words>
  <Application>Microsoft Office PowerPoint</Application>
  <PresentationFormat>Widescreen</PresentationFormat>
  <Paragraphs>90</Paragraphs>
  <Slides>8</Slides>
  <Notes>3</Notes>
  <HiddenSlides>1</HiddenSlides>
  <MMClips>1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Blank</vt:lpstr>
      <vt:lpstr>1_Office Theme</vt:lpstr>
      <vt:lpstr>4_blank</vt:lpstr>
      <vt:lpstr>Domino Use Case  at Bayer Crop Science</vt:lpstr>
      <vt:lpstr>PowerPoint Presentation</vt:lpstr>
      <vt:lpstr>PowerPoint Presentation</vt:lpstr>
      <vt:lpstr>Use case : Smarter Production Decisions ​</vt:lpstr>
      <vt:lpstr>Use case : Smarter Production Decisions</vt:lpstr>
      <vt:lpstr>Use case : Smarter Production Decisions</vt:lpstr>
      <vt:lpstr>Use case : Smarter Production Decisions</vt:lpstr>
      <vt:lpstr>Use case : Involving stakeholders in model o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DD, ADRIENNE M [AG/1000]</dc:creator>
  <cp:lastModifiedBy>CHEONG, SAMI [AG/1000]</cp:lastModifiedBy>
  <cp:revision>508</cp:revision>
  <cp:lastPrinted>2018-08-07T22:17:12Z</cp:lastPrinted>
  <dcterms:created xsi:type="dcterms:W3CDTF">2018-05-03T14:19:14Z</dcterms:created>
  <dcterms:modified xsi:type="dcterms:W3CDTF">2018-10-18T14:1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8D163DD4CF354E996B4956EB9F5E3E</vt:lpwstr>
  </property>
</Properties>
</file>